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6" r:id="rId4"/>
    <p:sldMasterId id="2147483719" r:id="rId5"/>
  </p:sldMasterIdLst>
  <p:notesMasterIdLst>
    <p:notesMasterId r:id="rId24"/>
  </p:notesMasterIdLst>
  <p:handoutMasterIdLst>
    <p:handoutMasterId r:id="rId25"/>
  </p:handoutMasterIdLst>
  <p:sldIdLst>
    <p:sldId id="2142532634" r:id="rId6"/>
    <p:sldId id="2142532653" r:id="rId7"/>
    <p:sldId id="2142532661" r:id="rId8"/>
    <p:sldId id="274" r:id="rId9"/>
    <p:sldId id="2142532635" r:id="rId10"/>
    <p:sldId id="2142532655" r:id="rId11"/>
    <p:sldId id="2142532636" r:id="rId12"/>
    <p:sldId id="2142532652" r:id="rId13"/>
    <p:sldId id="2142532639" r:id="rId14"/>
    <p:sldId id="2142532656" r:id="rId15"/>
    <p:sldId id="2142532657" r:id="rId16"/>
    <p:sldId id="2142532658" r:id="rId17"/>
    <p:sldId id="436" r:id="rId18"/>
    <p:sldId id="474" r:id="rId19"/>
    <p:sldId id="476" r:id="rId20"/>
    <p:sldId id="437" r:id="rId21"/>
    <p:sldId id="2142532659" r:id="rId22"/>
    <p:sldId id="481" r:id="rId23"/>
  </p:sldIdLst>
  <p:sldSz cx="12192000" cy="6858000"/>
  <p:notesSz cx="7315200" cy="9601200"/>
  <p:custDataLst>
    <p:tags r:id="rId2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B83A"/>
    <a:srgbClr val="07693D"/>
    <a:srgbClr val="53C74D"/>
    <a:srgbClr val="065A34"/>
    <a:srgbClr val="57E784"/>
    <a:srgbClr val="A9EB99"/>
    <a:srgbClr val="ECFEDE"/>
    <a:srgbClr val="FCFFD1"/>
    <a:srgbClr val="72AF2F"/>
    <a:srgbClr val="EDF9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65" autoAdjust="0"/>
    <p:restoredTop sz="95953" autoAdjust="0"/>
  </p:normalViewPr>
  <p:slideViewPr>
    <p:cSldViewPr snapToGrid="0" showGuides="1">
      <p:cViewPr varScale="1">
        <p:scale>
          <a:sx n="101" d="100"/>
          <a:sy n="101" d="100"/>
        </p:scale>
        <p:origin x="654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4" d="100"/>
          <a:sy n="74" d="100"/>
        </p:scale>
        <p:origin x="2934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31DB89-C548-4EF5-9DEB-F61D61795C99}" type="doc">
      <dgm:prSet loTypeId="urn:microsoft.com/office/officeart/2016/7/layout/HorizontalAction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5A634A6-BF2F-4A65-8C91-4CFD66192714}">
      <dgm:prSet/>
      <dgm:spPr>
        <a:solidFill>
          <a:srgbClr val="002060"/>
        </a:solidFill>
      </dgm:spPr>
      <dgm:t>
        <a:bodyPr/>
        <a:lstStyle/>
        <a:p>
          <a:r>
            <a:rPr lang="en-US" dirty="0"/>
            <a:t>CO2e Reduction</a:t>
          </a:r>
        </a:p>
      </dgm:t>
    </dgm:pt>
    <dgm:pt modelId="{CF71FF5A-50B1-499D-B5CA-CBCA553BC2A2}" type="parTrans" cxnId="{D311A975-7A34-4A40-B783-91948843A85F}">
      <dgm:prSet/>
      <dgm:spPr/>
      <dgm:t>
        <a:bodyPr/>
        <a:lstStyle/>
        <a:p>
          <a:endParaRPr lang="en-US"/>
        </a:p>
      </dgm:t>
    </dgm:pt>
    <dgm:pt modelId="{D6D68488-76F7-4E1B-A70C-C0B99A181125}" type="sibTrans" cxnId="{D311A975-7A34-4A40-B783-91948843A85F}">
      <dgm:prSet/>
      <dgm:spPr/>
      <dgm:t>
        <a:bodyPr/>
        <a:lstStyle/>
        <a:p>
          <a:endParaRPr lang="en-US"/>
        </a:p>
      </dgm:t>
    </dgm:pt>
    <dgm:pt modelId="{B0FE643B-4F70-4BFE-9DAC-6E57BD99B1F9}">
      <dgm:prSet custT="1"/>
      <dgm:spPr/>
      <dgm:t>
        <a:bodyPr/>
        <a:lstStyle/>
        <a:p>
          <a:pPr algn="l">
            <a:buFont typeface="Arial" panose="020B0604020202020204" pitchFamily="34" charset="0"/>
            <a:buChar char="•"/>
          </a:pPr>
          <a:r>
            <a:rPr lang="en-US" sz="1800" b="1" dirty="0">
              <a:solidFill>
                <a:srgbClr val="002060"/>
              </a:solidFill>
            </a:rPr>
            <a:t>Minimize CO2e by Optimized FTL  Load </a:t>
          </a:r>
        </a:p>
        <a:p>
          <a:pPr algn="l">
            <a:buFont typeface="Arial" panose="020B0604020202020204" pitchFamily="34" charset="0"/>
            <a:buNone/>
          </a:pPr>
          <a:r>
            <a:rPr lang="en-US" sz="1800" b="1" dirty="0">
              <a:solidFill>
                <a:srgbClr val="002060"/>
              </a:solidFill>
            </a:rPr>
            <a:t>Replaced Air Route with Rail Ocean ones at Order/Scheduling Time</a:t>
          </a:r>
        </a:p>
      </dgm:t>
    </dgm:pt>
    <dgm:pt modelId="{FB04DBD9-50BB-4B5B-8CDE-D9AF8BA5C148}" type="parTrans" cxnId="{C0932179-9504-487B-A5A1-06F94AD8FDBD}">
      <dgm:prSet/>
      <dgm:spPr/>
      <dgm:t>
        <a:bodyPr/>
        <a:lstStyle/>
        <a:p>
          <a:endParaRPr lang="en-US"/>
        </a:p>
      </dgm:t>
    </dgm:pt>
    <dgm:pt modelId="{8F0D0401-36F4-4F68-B9D2-A845D18E857B}" type="sibTrans" cxnId="{C0932179-9504-487B-A5A1-06F94AD8FDBD}">
      <dgm:prSet/>
      <dgm:spPr/>
      <dgm:t>
        <a:bodyPr/>
        <a:lstStyle/>
        <a:p>
          <a:endParaRPr lang="en-US"/>
        </a:p>
      </dgm:t>
    </dgm:pt>
    <dgm:pt modelId="{99F33B5C-3255-4442-80E6-3C38D5A70C28}">
      <dgm:prSet/>
      <dgm:spPr>
        <a:solidFill>
          <a:srgbClr val="002060"/>
        </a:solidFill>
      </dgm:spPr>
      <dgm:t>
        <a:bodyPr/>
        <a:lstStyle/>
        <a:p>
          <a:r>
            <a:rPr lang="en-US" dirty="0"/>
            <a:t>Air &amp; Ground</a:t>
          </a:r>
        </a:p>
      </dgm:t>
    </dgm:pt>
    <dgm:pt modelId="{9764FF87-023A-48E9-BD48-84978C5C189F}" type="parTrans" cxnId="{28EBB140-97D8-49C9-BE72-27FF60B76BF5}">
      <dgm:prSet/>
      <dgm:spPr/>
      <dgm:t>
        <a:bodyPr/>
        <a:lstStyle/>
        <a:p>
          <a:endParaRPr lang="en-US"/>
        </a:p>
      </dgm:t>
    </dgm:pt>
    <dgm:pt modelId="{66FF4D45-1AB2-486A-814C-5B38369A6C05}" type="sibTrans" cxnId="{28EBB140-97D8-49C9-BE72-27FF60B76BF5}">
      <dgm:prSet/>
      <dgm:spPr/>
      <dgm:t>
        <a:bodyPr/>
        <a:lstStyle/>
        <a:p>
          <a:endParaRPr lang="en-US"/>
        </a:p>
      </dgm:t>
    </dgm:pt>
    <dgm:pt modelId="{11E996DE-FAAD-44FB-B81F-E53533B3770B}">
      <dgm:prSet custT="1"/>
      <dgm:spPr/>
      <dgm:t>
        <a:bodyPr/>
        <a:lstStyle/>
        <a:p>
          <a:r>
            <a:rPr lang="en-US" sz="1800" b="1" dirty="0">
              <a:solidFill>
                <a:srgbClr val="002060"/>
              </a:solidFill>
            </a:rPr>
            <a:t>Air &amp; Ground trip consolidation opportunity alert</a:t>
          </a:r>
        </a:p>
        <a:p>
          <a:r>
            <a:rPr lang="en-US" sz="1800" b="1" dirty="0">
              <a:solidFill>
                <a:srgbClr val="002060"/>
              </a:solidFill>
            </a:rPr>
            <a:t>CO2 Green Carriers</a:t>
          </a:r>
        </a:p>
        <a:p>
          <a:endParaRPr lang="en-US" sz="1800" b="1" dirty="0">
            <a:solidFill>
              <a:srgbClr val="002060"/>
            </a:solidFill>
          </a:endParaRPr>
        </a:p>
      </dgm:t>
    </dgm:pt>
    <dgm:pt modelId="{62DF0FBE-F255-4A4D-B592-1F7D9D2C8A0A}" type="parTrans" cxnId="{60CD6CBD-F67B-4CFB-9B23-86C755451FAD}">
      <dgm:prSet/>
      <dgm:spPr/>
      <dgm:t>
        <a:bodyPr/>
        <a:lstStyle/>
        <a:p>
          <a:endParaRPr lang="en-US"/>
        </a:p>
      </dgm:t>
    </dgm:pt>
    <dgm:pt modelId="{41E58854-E5D2-4CAD-A6AA-3E75F5A43EF2}" type="sibTrans" cxnId="{60CD6CBD-F67B-4CFB-9B23-86C755451FAD}">
      <dgm:prSet/>
      <dgm:spPr/>
      <dgm:t>
        <a:bodyPr/>
        <a:lstStyle/>
        <a:p>
          <a:endParaRPr lang="en-US"/>
        </a:p>
      </dgm:t>
    </dgm:pt>
    <dgm:pt modelId="{80B3A6AD-FD10-47A2-BA3B-9BE5983484A8}">
      <dgm:prSet/>
      <dgm:spPr>
        <a:solidFill>
          <a:srgbClr val="002060"/>
        </a:solidFill>
      </dgm:spPr>
      <dgm:t>
        <a:bodyPr/>
        <a:lstStyle/>
        <a:p>
          <a:r>
            <a:rPr lang="en-US" dirty="0"/>
            <a:t>Air</a:t>
          </a:r>
        </a:p>
      </dgm:t>
    </dgm:pt>
    <dgm:pt modelId="{38FBB470-A364-4CF8-B978-B548B71C6FE2}" type="parTrans" cxnId="{E1AF82C7-E362-4257-838A-E8C32F1594FB}">
      <dgm:prSet/>
      <dgm:spPr/>
      <dgm:t>
        <a:bodyPr/>
        <a:lstStyle/>
        <a:p>
          <a:endParaRPr lang="en-US"/>
        </a:p>
      </dgm:t>
    </dgm:pt>
    <dgm:pt modelId="{775687BB-CDAE-4E65-A8A9-BAC2E4A2394A}" type="sibTrans" cxnId="{E1AF82C7-E362-4257-838A-E8C32F1594FB}">
      <dgm:prSet/>
      <dgm:spPr/>
      <dgm:t>
        <a:bodyPr/>
        <a:lstStyle/>
        <a:p>
          <a:endParaRPr lang="en-US"/>
        </a:p>
      </dgm:t>
    </dgm:pt>
    <dgm:pt modelId="{4C929864-C24E-4F87-9E05-54AC77BD2BBE}">
      <dgm:prSet custT="1"/>
      <dgm:spPr/>
      <dgm:t>
        <a:bodyPr/>
        <a:lstStyle/>
        <a:p>
          <a:r>
            <a:rPr lang="en-US" sz="1800" b="1" dirty="0">
              <a:solidFill>
                <a:srgbClr val="002060"/>
              </a:solidFill>
            </a:rPr>
            <a:t>Air route with minimum stops</a:t>
          </a:r>
        </a:p>
        <a:p>
          <a:r>
            <a:rPr lang="en-US" sz="1800" b="1" dirty="0">
              <a:solidFill>
                <a:srgbClr val="002060"/>
              </a:solidFill>
            </a:rPr>
            <a:t>Top CO2 friendly airlines</a:t>
          </a:r>
          <a:r>
            <a:rPr lang="en-US" sz="1600" b="1" dirty="0">
              <a:solidFill>
                <a:srgbClr val="002060"/>
              </a:solidFill>
            </a:rPr>
            <a:t> </a:t>
          </a:r>
        </a:p>
      </dgm:t>
    </dgm:pt>
    <dgm:pt modelId="{EB3BAB50-F9A0-43DD-9ADC-E8A39DD787EE}" type="parTrans" cxnId="{6FEC35C3-02F2-4410-A231-FB4C149835D9}">
      <dgm:prSet/>
      <dgm:spPr/>
      <dgm:t>
        <a:bodyPr/>
        <a:lstStyle/>
        <a:p>
          <a:endParaRPr lang="en-US"/>
        </a:p>
      </dgm:t>
    </dgm:pt>
    <dgm:pt modelId="{BB2F19CA-2806-4801-A943-B69065322A84}" type="sibTrans" cxnId="{6FEC35C3-02F2-4410-A231-FB4C149835D9}">
      <dgm:prSet/>
      <dgm:spPr/>
      <dgm:t>
        <a:bodyPr/>
        <a:lstStyle/>
        <a:p>
          <a:endParaRPr lang="en-US"/>
        </a:p>
      </dgm:t>
    </dgm:pt>
    <dgm:pt modelId="{21724633-20B2-40FF-AEE1-A7D97DA187B2}" type="pres">
      <dgm:prSet presAssocID="{F731DB89-C548-4EF5-9DEB-F61D61795C99}" presName="Name0" presStyleCnt="0">
        <dgm:presLayoutVars>
          <dgm:dir/>
          <dgm:animLvl val="lvl"/>
          <dgm:resizeHandles val="exact"/>
        </dgm:presLayoutVars>
      </dgm:prSet>
      <dgm:spPr/>
    </dgm:pt>
    <dgm:pt modelId="{8B2C58C8-DA93-4270-92F5-17936E7AEEC4}" type="pres">
      <dgm:prSet presAssocID="{B5A634A6-BF2F-4A65-8C91-4CFD66192714}" presName="composite" presStyleCnt="0"/>
      <dgm:spPr/>
    </dgm:pt>
    <dgm:pt modelId="{91DE953B-E35F-40EA-852D-BBD3A7D00154}" type="pres">
      <dgm:prSet presAssocID="{B5A634A6-BF2F-4A65-8C91-4CFD66192714}" presName="parTx" presStyleLbl="alignNode1" presStyleIdx="0" presStyleCnt="3" custScaleX="111558">
        <dgm:presLayoutVars>
          <dgm:chMax val="0"/>
          <dgm:chPref val="0"/>
        </dgm:presLayoutVars>
      </dgm:prSet>
      <dgm:spPr/>
    </dgm:pt>
    <dgm:pt modelId="{86ABB396-64D1-4CA2-A4E6-AE247770F8DD}" type="pres">
      <dgm:prSet presAssocID="{B5A634A6-BF2F-4A65-8C91-4CFD66192714}" presName="desTx" presStyleLbl="alignAccFollowNode1" presStyleIdx="0" presStyleCnt="3" custScaleX="111846" custLinFactNeighborX="789" custLinFactNeighborY="-215">
        <dgm:presLayoutVars/>
      </dgm:prSet>
      <dgm:spPr/>
    </dgm:pt>
    <dgm:pt modelId="{C85E5B09-400E-4725-BC26-5B5D700B38EA}" type="pres">
      <dgm:prSet presAssocID="{D6D68488-76F7-4E1B-A70C-C0B99A181125}" presName="space" presStyleCnt="0"/>
      <dgm:spPr/>
    </dgm:pt>
    <dgm:pt modelId="{DE95F29C-6A0E-4A81-9C8E-CBCC60589725}" type="pres">
      <dgm:prSet presAssocID="{99F33B5C-3255-4442-80E6-3C38D5A70C28}" presName="composite" presStyleCnt="0"/>
      <dgm:spPr/>
    </dgm:pt>
    <dgm:pt modelId="{3C601735-07BE-42D6-B9BB-080BAE831BDB}" type="pres">
      <dgm:prSet presAssocID="{99F33B5C-3255-4442-80E6-3C38D5A70C28}" presName="parTx" presStyleLbl="alignNode1" presStyleIdx="1" presStyleCnt="3">
        <dgm:presLayoutVars>
          <dgm:chMax val="0"/>
          <dgm:chPref val="0"/>
        </dgm:presLayoutVars>
      </dgm:prSet>
      <dgm:spPr/>
    </dgm:pt>
    <dgm:pt modelId="{3DBF377C-47DE-4115-9283-E5E4A014AE5C}" type="pres">
      <dgm:prSet presAssocID="{99F33B5C-3255-4442-80E6-3C38D5A70C28}" presName="desTx" presStyleLbl="alignAccFollowNode1" presStyleIdx="1" presStyleCnt="3">
        <dgm:presLayoutVars/>
      </dgm:prSet>
      <dgm:spPr/>
    </dgm:pt>
    <dgm:pt modelId="{85B124DC-1427-4E4F-9790-5A44C8A95B92}" type="pres">
      <dgm:prSet presAssocID="{66FF4D45-1AB2-486A-814C-5B38369A6C05}" presName="space" presStyleCnt="0"/>
      <dgm:spPr/>
    </dgm:pt>
    <dgm:pt modelId="{290A0C4B-AE89-4301-899D-5E40D5B0943A}" type="pres">
      <dgm:prSet presAssocID="{80B3A6AD-FD10-47A2-BA3B-9BE5983484A8}" presName="composite" presStyleCnt="0"/>
      <dgm:spPr/>
    </dgm:pt>
    <dgm:pt modelId="{2CF73820-7DAC-47C6-A933-64A788A2C424}" type="pres">
      <dgm:prSet presAssocID="{80B3A6AD-FD10-47A2-BA3B-9BE5983484A8}" presName="parTx" presStyleLbl="alignNode1" presStyleIdx="2" presStyleCnt="3">
        <dgm:presLayoutVars>
          <dgm:chMax val="0"/>
          <dgm:chPref val="0"/>
        </dgm:presLayoutVars>
      </dgm:prSet>
      <dgm:spPr/>
    </dgm:pt>
    <dgm:pt modelId="{495ED83B-BF85-485B-90E3-A2152D0DF550}" type="pres">
      <dgm:prSet presAssocID="{80B3A6AD-FD10-47A2-BA3B-9BE5983484A8}" presName="desTx" presStyleLbl="alignAccFollowNode1" presStyleIdx="2" presStyleCnt="3">
        <dgm:presLayoutVars/>
      </dgm:prSet>
      <dgm:spPr/>
    </dgm:pt>
  </dgm:ptLst>
  <dgm:cxnLst>
    <dgm:cxn modelId="{1B7DEC12-FEA5-4876-9A86-22787B2E5C9E}" type="presOf" srcId="{B0FE643B-4F70-4BFE-9DAC-6E57BD99B1F9}" destId="{86ABB396-64D1-4CA2-A4E6-AE247770F8DD}" srcOrd="0" destOrd="0" presId="urn:microsoft.com/office/officeart/2016/7/layout/HorizontalActionList"/>
    <dgm:cxn modelId="{76A6AB13-F17D-41EF-9010-369240FF61EF}" type="presOf" srcId="{11E996DE-FAAD-44FB-B81F-E53533B3770B}" destId="{3DBF377C-47DE-4115-9283-E5E4A014AE5C}" srcOrd="0" destOrd="0" presId="urn:microsoft.com/office/officeart/2016/7/layout/HorizontalActionList"/>
    <dgm:cxn modelId="{28EBB140-97D8-49C9-BE72-27FF60B76BF5}" srcId="{F731DB89-C548-4EF5-9DEB-F61D61795C99}" destId="{99F33B5C-3255-4442-80E6-3C38D5A70C28}" srcOrd="1" destOrd="0" parTransId="{9764FF87-023A-48E9-BD48-84978C5C189F}" sibTransId="{66FF4D45-1AB2-486A-814C-5B38369A6C05}"/>
    <dgm:cxn modelId="{D8CE1361-790D-4035-9A2C-28B76DB8B97A}" type="presOf" srcId="{4C929864-C24E-4F87-9E05-54AC77BD2BBE}" destId="{495ED83B-BF85-485B-90E3-A2152D0DF550}" srcOrd="0" destOrd="0" presId="urn:microsoft.com/office/officeart/2016/7/layout/HorizontalActionList"/>
    <dgm:cxn modelId="{46C79247-7727-4817-9EA9-AF581A69F309}" type="presOf" srcId="{B5A634A6-BF2F-4A65-8C91-4CFD66192714}" destId="{91DE953B-E35F-40EA-852D-BBD3A7D00154}" srcOrd="0" destOrd="0" presId="urn:microsoft.com/office/officeart/2016/7/layout/HorizontalActionList"/>
    <dgm:cxn modelId="{D311A975-7A34-4A40-B783-91948843A85F}" srcId="{F731DB89-C548-4EF5-9DEB-F61D61795C99}" destId="{B5A634A6-BF2F-4A65-8C91-4CFD66192714}" srcOrd="0" destOrd="0" parTransId="{CF71FF5A-50B1-499D-B5CA-CBCA553BC2A2}" sibTransId="{D6D68488-76F7-4E1B-A70C-C0B99A181125}"/>
    <dgm:cxn modelId="{952D7E56-109C-429E-8AE1-10B4A2A0F9F5}" type="presOf" srcId="{F731DB89-C548-4EF5-9DEB-F61D61795C99}" destId="{21724633-20B2-40FF-AEE1-A7D97DA187B2}" srcOrd="0" destOrd="0" presId="urn:microsoft.com/office/officeart/2016/7/layout/HorizontalActionList"/>
    <dgm:cxn modelId="{C0932179-9504-487B-A5A1-06F94AD8FDBD}" srcId="{B5A634A6-BF2F-4A65-8C91-4CFD66192714}" destId="{B0FE643B-4F70-4BFE-9DAC-6E57BD99B1F9}" srcOrd="0" destOrd="0" parTransId="{FB04DBD9-50BB-4B5B-8CDE-D9AF8BA5C148}" sibTransId="{8F0D0401-36F4-4F68-B9D2-A845D18E857B}"/>
    <dgm:cxn modelId="{60CD6CBD-F67B-4CFB-9B23-86C755451FAD}" srcId="{99F33B5C-3255-4442-80E6-3C38D5A70C28}" destId="{11E996DE-FAAD-44FB-B81F-E53533B3770B}" srcOrd="0" destOrd="0" parTransId="{62DF0FBE-F255-4A4D-B592-1F7D9D2C8A0A}" sibTransId="{41E58854-E5D2-4CAD-A6AA-3E75F5A43EF2}"/>
    <dgm:cxn modelId="{6FEC35C3-02F2-4410-A231-FB4C149835D9}" srcId="{80B3A6AD-FD10-47A2-BA3B-9BE5983484A8}" destId="{4C929864-C24E-4F87-9E05-54AC77BD2BBE}" srcOrd="0" destOrd="0" parTransId="{EB3BAB50-F9A0-43DD-9ADC-E8A39DD787EE}" sibTransId="{BB2F19CA-2806-4801-A943-B69065322A84}"/>
    <dgm:cxn modelId="{E1AF82C7-E362-4257-838A-E8C32F1594FB}" srcId="{F731DB89-C548-4EF5-9DEB-F61D61795C99}" destId="{80B3A6AD-FD10-47A2-BA3B-9BE5983484A8}" srcOrd="2" destOrd="0" parTransId="{38FBB470-A364-4CF8-B978-B548B71C6FE2}" sibTransId="{775687BB-CDAE-4E65-A8A9-BAC2E4A2394A}"/>
    <dgm:cxn modelId="{7F1E8CD7-2186-432B-9BD4-54BCF0E4B685}" type="presOf" srcId="{99F33B5C-3255-4442-80E6-3C38D5A70C28}" destId="{3C601735-07BE-42D6-B9BB-080BAE831BDB}" srcOrd="0" destOrd="0" presId="urn:microsoft.com/office/officeart/2016/7/layout/HorizontalActionList"/>
    <dgm:cxn modelId="{C21EB4EE-9A24-4989-A5F1-6141DA5ABCA1}" type="presOf" srcId="{80B3A6AD-FD10-47A2-BA3B-9BE5983484A8}" destId="{2CF73820-7DAC-47C6-A933-64A788A2C424}" srcOrd="0" destOrd="0" presId="urn:microsoft.com/office/officeart/2016/7/layout/HorizontalActionList"/>
    <dgm:cxn modelId="{7FD90767-F2FF-43F5-A8A0-032328FF6846}" type="presParOf" srcId="{21724633-20B2-40FF-AEE1-A7D97DA187B2}" destId="{8B2C58C8-DA93-4270-92F5-17936E7AEEC4}" srcOrd="0" destOrd="0" presId="urn:microsoft.com/office/officeart/2016/7/layout/HorizontalActionList"/>
    <dgm:cxn modelId="{D7CFD5E3-222A-4B3A-8758-F4070D066A3B}" type="presParOf" srcId="{8B2C58C8-DA93-4270-92F5-17936E7AEEC4}" destId="{91DE953B-E35F-40EA-852D-BBD3A7D00154}" srcOrd="0" destOrd="0" presId="urn:microsoft.com/office/officeart/2016/7/layout/HorizontalActionList"/>
    <dgm:cxn modelId="{C10F38DC-F8C0-4F35-B07A-5C6DEC6E8AF7}" type="presParOf" srcId="{8B2C58C8-DA93-4270-92F5-17936E7AEEC4}" destId="{86ABB396-64D1-4CA2-A4E6-AE247770F8DD}" srcOrd="1" destOrd="0" presId="urn:microsoft.com/office/officeart/2016/7/layout/HorizontalActionList"/>
    <dgm:cxn modelId="{C15EA451-FE70-447C-B24E-663966A6F1EC}" type="presParOf" srcId="{21724633-20B2-40FF-AEE1-A7D97DA187B2}" destId="{C85E5B09-400E-4725-BC26-5B5D700B38EA}" srcOrd="1" destOrd="0" presId="urn:microsoft.com/office/officeart/2016/7/layout/HorizontalActionList"/>
    <dgm:cxn modelId="{5BDF7AC6-4152-4D89-96E4-C4B3242C5BCD}" type="presParOf" srcId="{21724633-20B2-40FF-AEE1-A7D97DA187B2}" destId="{DE95F29C-6A0E-4A81-9C8E-CBCC60589725}" srcOrd="2" destOrd="0" presId="urn:microsoft.com/office/officeart/2016/7/layout/HorizontalActionList"/>
    <dgm:cxn modelId="{745A030B-B6B1-46BA-9F6B-C738AA58408E}" type="presParOf" srcId="{DE95F29C-6A0E-4A81-9C8E-CBCC60589725}" destId="{3C601735-07BE-42D6-B9BB-080BAE831BDB}" srcOrd="0" destOrd="0" presId="urn:microsoft.com/office/officeart/2016/7/layout/HorizontalActionList"/>
    <dgm:cxn modelId="{3D9C2BA7-9F7A-4835-BEE2-59AD6A784680}" type="presParOf" srcId="{DE95F29C-6A0E-4A81-9C8E-CBCC60589725}" destId="{3DBF377C-47DE-4115-9283-E5E4A014AE5C}" srcOrd="1" destOrd="0" presId="urn:microsoft.com/office/officeart/2016/7/layout/HorizontalActionList"/>
    <dgm:cxn modelId="{E8407D05-B509-461B-8EAE-ED0C82229244}" type="presParOf" srcId="{21724633-20B2-40FF-AEE1-A7D97DA187B2}" destId="{85B124DC-1427-4E4F-9790-5A44C8A95B92}" srcOrd="3" destOrd="0" presId="urn:microsoft.com/office/officeart/2016/7/layout/HorizontalActionList"/>
    <dgm:cxn modelId="{2E525522-1A89-44E6-9FC6-0D6D7B4F6A7E}" type="presParOf" srcId="{21724633-20B2-40FF-AEE1-A7D97DA187B2}" destId="{290A0C4B-AE89-4301-899D-5E40D5B0943A}" srcOrd="4" destOrd="0" presId="urn:microsoft.com/office/officeart/2016/7/layout/HorizontalActionList"/>
    <dgm:cxn modelId="{B81D055A-6F48-488E-A8F1-007D35912BCB}" type="presParOf" srcId="{290A0C4B-AE89-4301-899D-5E40D5B0943A}" destId="{2CF73820-7DAC-47C6-A933-64A788A2C424}" srcOrd="0" destOrd="0" presId="urn:microsoft.com/office/officeart/2016/7/layout/HorizontalActionList"/>
    <dgm:cxn modelId="{D47DCB28-2E88-4FD0-B1DA-AE810A21A308}" type="presParOf" srcId="{290A0C4B-AE89-4301-899D-5E40D5B0943A}" destId="{495ED83B-BF85-485B-90E3-A2152D0DF550}" srcOrd="1" destOrd="0" presId="urn:microsoft.com/office/officeart/2016/7/layout/HorizontalAc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CAEC3D-8A97-4B08-950D-D7C2141000E0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6E5E04C-C225-4AF9-AB6E-62F0FB50BEE5}">
      <dgm:prSet phldrT="[Text]" custT="1"/>
      <dgm:spPr>
        <a:solidFill>
          <a:schemeClr val="accent5">
            <a:lumMod val="20000"/>
            <a:lumOff val="80000"/>
          </a:schemeClr>
        </a:solidFill>
        <a:ln w="76200">
          <a:solidFill>
            <a:srgbClr val="002060"/>
          </a:solidFill>
        </a:ln>
      </dgm:spPr>
      <dgm:t>
        <a:bodyPr/>
        <a:lstStyle/>
        <a:p>
          <a:endParaRPr lang="en-US" sz="1000" b="1" dirty="0">
            <a:solidFill>
              <a:srgbClr val="002060"/>
            </a:solidFill>
          </a:endParaRPr>
        </a:p>
        <a:p>
          <a:endParaRPr lang="en-US" sz="2800" b="1" dirty="0">
            <a:solidFill>
              <a:srgbClr val="002060"/>
            </a:solidFill>
          </a:endParaRPr>
        </a:p>
        <a:p>
          <a:r>
            <a:rPr lang="en-US" sz="1400" b="1" dirty="0">
              <a:solidFill>
                <a:srgbClr val="002060"/>
              </a:solidFill>
            </a:rPr>
            <a:t>Supply Chain</a:t>
          </a:r>
        </a:p>
      </dgm:t>
    </dgm:pt>
    <dgm:pt modelId="{B48C7053-52C3-4CDE-B5CF-09818983A813}" type="parTrans" cxnId="{FB365F26-9902-4CAD-90E3-A00522EF04C6}">
      <dgm:prSet/>
      <dgm:spPr/>
      <dgm:t>
        <a:bodyPr/>
        <a:lstStyle/>
        <a:p>
          <a:endParaRPr lang="en-US"/>
        </a:p>
      </dgm:t>
    </dgm:pt>
    <dgm:pt modelId="{0E478B6B-EB64-42F2-A7B0-59985E4439DB}" type="sibTrans" cxnId="{FB365F26-9902-4CAD-90E3-A00522EF04C6}">
      <dgm:prSet/>
      <dgm:spPr/>
      <dgm:t>
        <a:bodyPr/>
        <a:lstStyle/>
        <a:p>
          <a:endParaRPr lang="en-US"/>
        </a:p>
      </dgm:t>
    </dgm:pt>
    <dgm:pt modelId="{8C84F427-737A-43E3-A0AD-084CBB38021C}">
      <dgm:prSet phldrT="[Text]" custT="1"/>
      <dgm:spPr>
        <a:solidFill>
          <a:schemeClr val="accent5">
            <a:lumMod val="20000"/>
            <a:lumOff val="80000"/>
          </a:schemeClr>
        </a:solidFill>
        <a:ln w="57150">
          <a:solidFill>
            <a:srgbClr val="002060"/>
          </a:solidFill>
        </a:ln>
      </dgm:spPr>
      <dgm:t>
        <a:bodyPr/>
        <a:lstStyle/>
        <a:p>
          <a:r>
            <a:rPr lang="en-US" sz="1400" b="1" dirty="0">
              <a:solidFill>
                <a:srgbClr val="002060"/>
              </a:solidFill>
            </a:rPr>
            <a:t>Order Risk Forecast</a:t>
          </a:r>
        </a:p>
      </dgm:t>
    </dgm:pt>
    <dgm:pt modelId="{B1FBC2A2-DD39-46E9-9956-387A5FE49D67}" type="parTrans" cxnId="{18644988-F3A2-43BD-8BE1-CF5571BF79EF}">
      <dgm:prSet/>
      <dgm:spPr/>
      <dgm:t>
        <a:bodyPr/>
        <a:lstStyle/>
        <a:p>
          <a:endParaRPr lang="en-US"/>
        </a:p>
      </dgm:t>
    </dgm:pt>
    <dgm:pt modelId="{CFCC2F40-B3D7-4A2B-B92B-3801B8858CC0}" type="sibTrans" cxnId="{18644988-F3A2-43BD-8BE1-CF5571BF79EF}">
      <dgm:prSet/>
      <dgm:spPr>
        <a:solidFill>
          <a:schemeClr val="accent4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</dgm:spPr>
      <dgm:t>
        <a:bodyPr/>
        <a:lstStyle/>
        <a:p>
          <a:endParaRPr lang="en-US"/>
        </a:p>
      </dgm:t>
    </dgm:pt>
    <dgm:pt modelId="{0CB40391-1ECF-4D68-B0FE-8E87E8B0C444}">
      <dgm:prSet phldrT="[Text]" custT="1"/>
      <dgm:spPr>
        <a:solidFill>
          <a:schemeClr val="accent5">
            <a:lumMod val="20000"/>
            <a:lumOff val="80000"/>
          </a:schemeClr>
        </a:solidFill>
        <a:ln w="57150">
          <a:solidFill>
            <a:srgbClr val="002060"/>
          </a:solidFill>
        </a:ln>
      </dgm:spPr>
      <dgm:t>
        <a:bodyPr/>
        <a:lstStyle/>
        <a:p>
          <a:r>
            <a:rPr lang="en-US" sz="1200" b="1" dirty="0">
              <a:solidFill>
                <a:schemeClr val="accent6">
                  <a:lumMod val="25000"/>
                </a:schemeClr>
              </a:solidFill>
            </a:rPr>
            <a:t>Freight Movement </a:t>
          </a:r>
          <a:r>
            <a:rPr lang="en-US" sz="900" b="1" dirty="0">
              <a:solidFill>
                <a:schemeClr val="accent6">
                  <a:lumMod val="25000"/>
                </a:schemeClr>
              </a:solidFill>
            </a:rPr>
            <a:t>Consolidation</a:t>
          </a:r>
        </a:p>
      </dgm:t>
    </dgm:pt>
    <dgm:pt modelId="{2240F0F8-B05B-404B-A189-ED94EF77BA27}" type="parTrans" cxnId="{3FB7CE20-5880-4754-8986-6A10C4EC053E}">
      <dgm:prSet/>
      <dgm:spPr/>
      <dgm:t>
        <a:bodyPr/>
        <a:lstStyle/>
        <a:p>
          <a:endParaRPr lang="en-US"/>
        </a:p>
      </dgm:t>
    </dgm:pt>
    <dgm:pt modelId="{86282F3A-535D-47BA-94F5-047464679340}" type="sibTrans" cxnId="{3FB7CE20-5880-4754-8986-6A10C4EC053E}">
      <dgm:prSet/>
      <dgm:spPr>
        <a:solidFill>
          <a:schemeClr val="accent5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</dgm:spPr>
      <dgm:t>
        <a:bodyPr/>
        <a:lstStyle/>
        <a:p>
          <a:endParaRPr lang="en-US"/>
        </a:p>
      </dgm:t>
    </dgm:pt>
    <dgm:pt modelId="{BB2C9836-B825-4D2D-93DE-F5566F63DC53}">
      <dgm:prSet phldrT="[Text]" custT="1"/>
      <dgm:spPr>
        <a:solidFill>
          <a:srgbClr val="C9EFCB"/>
        </a:solidFill>
        <a:ln w="57150">
          <a:solidFill>
            <a:srgbClr val="07693D"/>
          </a:solidFill>
        </a:ln>
      </dgm:spPr>
      <dgm:t>
        <a:bodyPr/>
        <a:lstStyle/>
        <a:p>
          <a:r>
            <a:rPr lang="en-US" sz="1400" b="1" dirty="0">
              <a:solidFill>
                <a:srgbClr val="07693D"/>
              </a:solidFill>
            </a:rPr>
            <a:t>Green Freight CO2 </a:t>
          </a:r>
          <a:r>
            <a:rPr lang="en-US" sz="1200" b="1" dirty="0">
              <a:solidFill>
                <a:srgbClr val="07693D"/>
              </a:solidFill>
            </a:rPr>
            <a:t>Emission</a:t>
          </a:r>
        </a:p>
      </dgm:t>
    </dgm:pt>
    <dgm:pt modelId="{ACB1E303-4A70-48A3-A3A0-BBCB408E9B07}" type="parTrans" cxnId="{E304823A-6828-4CC4-881F-004D67132806}">
      <dgm:prSet/>
      <dgm:spPr/>
      <dgm:t>
        <a:bodyPr/>
        <a:lstStyle/>
        <a:p>
          <a:endParaRPr lang="en-US"/>
        </a:p>
      </dgm:t>
    </dgm:pt>
    <dgm:pt modelId="{5F95298D-1985-445C-BEDC-C53526C131DB}" type="sibTrans" cxnId="{E304823A-6828-4CC4-881F-004D67132806}">
      <dgm:prSet/>
      <dgm:spPr>
        <a:solidFill>
          <a:schemeClr val="accent4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</dgm:spPr>
      <dgm:t>
        <a:bodyPr/>
        <a:lstStyle/>
        <a:p>
          <a:endParaRPr lang="en-US"/>
        </a:p>
      </dgm:t>
    </dgm:pt>
    <dgm:pt modelId="{7F563F28-49BE-4425-840F-0B4A998A8DE2}">
      <dgm:prSet phldrT="[Text]" custT="1"/>
      <dgm:spPr>
        <a:solidFill>
          <a:schemeClr val="accent5">
            <a:lumMod val="20000"/>
            <a:lumOff val="80000"/>
          </a:schemeClr>
        </a:solidFill>
        <a:ln w="57150">
          <a:solidFill>
            <a:srgbClr val="002060"/>
          </a:solidFill>
        </a:ln>
      </dgm:spPr>
      <dgm:t>
        <a:bodyPr/>
        <a:lstStyle/>
        <a:p>
          <a:r>
            <a:rPr lang="en-US" sz="1400" b="1" dirty="0">
              <a:solidFill>
                <a:schemeClr val="accent6">
                  <a:lumMod val="25000"/>
                </a:schemeClr>
              </a:solidFill>
            </a:rPr>
            <a:t>Carrier Advisor</a:t>
          </a:r>
        </a:p>
      </dgm:t>
    </dgm:pt>
    <dgm:pt modelId="{5C4EB552-DA3A-4C87-ABB9-2986B704E4D0}" type="parTrans" cxnId="{283A58C7-756B-4588-B88E-D57D984B3FCE}">
      <dgm:prSet/>
      <dgm:spPr/>
      <dgm:t>
        <a:bodyPr/>
        <a:lstStyle/>
        <a:p>
          <a:endParaRPr lang="en-US"/>
        </a:p>
      </dgm:t>
    </dgm:pt>
    <dgm:pt modelId="{E57507DF-99C1-4761-970D-39CE737802BE}" type="sibTrans" cxnId="{283A58C7-756B-4588-B88E-D57D984B3FCE}">
      <dgm:prSet/>
      <dgm:spPr>
        <a:solidFill>
          <a:schemeClr val="accent4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</dgm:spPr>
      <dgm:t>
        <a:bodyPr/>
        <a:lstStyle/>
        <a:p>
          <a:endParaRPr lang="en-US"/>
        </a:p>
      </dgm:t>
    </dgm:pt>
    <dgm:pt modelId="{022A67FF-CDD2-4340-A668-8C372D53D485}">
      <dgm:prSet phldrT="[Text]"/>
      <dgm:spPr/>
      <dgm:t>
        <a:bodyPr/>
        <a:lstStyle/>
        <a:p>
          <a:endParaRPr lang="en-US" dirty="0"/>
        </a:p>
      </dgm:t>
    </dgm:pt>
    <dgm:pt modelId="{B71FF117-C426-4FF2-A685-B16D72E5DAFB}" type="parTrans" cxnId="{3B3063C7-C862-4114-B286-C38172FB0A96}">
      <dgm:prSet/>
      <dgm:spPr/>
      <dgm:t>
        <a:bodyPr/>
        <a:lstStyle/>
        <a:p>
          <a:endParaRPr lang="en-US"/>
        </a:p>
      </dgm:t>
    </dgm:pt>
    <dgm:pt modelId="{942C0A25-74E9-45F8-BCBE-CDA4E5D70C90}" type="sibTrans" cxnId="{3B3063C7-C862-4114-B286-C38172FB0A96}">
      <dgm:prSet/>
      <dgm:spPr/>
      <dgm:t>
        <a:bodyPr/>
        <a:lstStyle/>
        <a:p>
          <a:endParaRPr lang="en-US"/>
        </a:p>
      </dgm:t>
    </dgm:pt>
    <dgm:pt modelId="{DFA2AD33-D3BE-42FA-9888-614937863FAC}">
      <dgm:prSet phldrT="[Text]" custT="1"/>
      <dgm:spPr>
        <a:solidFill>
          <a:schemeClr val="accent5">
            <a:lumMod val="20000"/>
            <a:lumOff val="80000"/>
          </a:schemeClr>
        </a:solidFill>
        <a:ln w="57150">
          <a:solidFill>
            <a:srgbClr val="002060"/>
          </a:solidFill>
        </a:ln>
      </dgm:spPr>
      <dgm:t>
        <a:bodyPr/>
        <a:lstStyle/>
        <a:p>
          <a:r>
            <a:rPr lang="en-US" sz="1400" b="1" dirty="0">
              <a:solidFill>
                <a:srgbClr val="002060"/>
              </a:solidFill>
            </a:rPr>
            <a:t>Hub </a:t>
          </a:r>
          <a:r>
            <a:rPr lang="en-US" sz="1000" b="1" dirty="0">
              <a:solidFill>
                <a:srgbClr val="002060"/>
              </a:solidFill>
            </a:rPr>
            <a:t>Optimization</a:t>
          </a:r>
        </a:p>
      </dgm:t>
    </dgm:pt>
    <dgm:pt modelId="{8D10492F-04B0-4F4A-8E59-B5E54B5A47A0}" type="parTrans" cxnId="{A6252C2C-3697-49C5-8EB1-A50DFFFF2F84}">
      <dgm:prSet/>
      <dgm:spPr/>
      <dgm:t>
        <a:bodyPr/>
        <a:lstStyle/>
        <a:p>
          <a:endParaRPr lang="en-US"/>
        </a:p>
      </dgm:t>
    </dgm:pt>
    <dgm:pt modelId="{AF7E9D2E-A7DA-40F9-8C0F-A5878EBF7AA2}" type="sibTrans" cxnId="{A6252C2C-3697-49C5-8EB1-A50DFFFF2F84}">
      <dgm:prSet/>
      <dgm:spPr>
        <a:solidFill>
          <a:schemeClr val="accent4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</dgm:spPr>
      <dgm:t>
        <a:bodyPr/>
        <a:lstStyle/>
        <a:p>
          <a:endParaRPr lang="en-US"/>
        </a:p>
      </dgm:t>
    </dgm:pt>
    <dgm:pt modelId="{2120791D-98DC-4DAB-A95D-6A5901C3E8FB}">
      <dgm:prSet phldrT="[Text]" custT="1"/>
      <dgm:spPr>
        <a:solidFill>
          <a:schemeClr val="accent5">
            <a:lumMod val="20000"/>
            <a:lumOff val="80000"/>
          </a:schemeClr>
        </a:solidFill>
        <a:ln w="57150">
          <a:solidFill>
            <a:srgbClr val="002060"/>
          </a:solidFill>
        </a:ln>
      </dgm:spPr>
      <dgm:t>
        <a:bodyPr/>
        <a:lstStyle/>
        <a:p>
          <a:r>
            <a:rPr lang="en-US" sz="1400" b="1" dirty="0">
              <a:solidFill>
                <a:srgbClr val="002060"/>
              </a:solidFill>
            </a:rPr>
            <a:t>Load Forecast </a:t>
          </a:r>
          <a:r>
            <a:rPr lang="en-US" sz="1200" b="1" dirty="0">
              <a:solidFill>
                <a:srgbClr val="002060"/>
              </a:solidFill>
            </a:rPr>
            <a:t>On Route</a:t>
          </a:r>
        </a:p>
      </dgm:t>
    </dgm:pt>
    <dgm:pt modelId="{C09A90EC-D10A-4FCB-A3A0-E3E9D409921F}" type="parTrans" cxnId="{F791B4A8-1CB3-4569-A101-EB2804D34259}">
      <dgm:prSet/>
      <dgm:spPr/>
      <dgm:t>
        <a:bodyPr/>
        <a:lstStyle/>
        <a:p>
          <a:endParaRPr lang="en-US"/>
        </a:p>
      </dgm:t>
    </dgm:pt>
    <dgm:pt modelId="{BAC317D4-650A-47A1-BB2D-9F5055D0AC4D}" type="sibTrans" cxnId="{F791B4A8-1CB3-4569-A101-EB2804D34259}">
      <dgm:prSet/>
      <dgm:spPr>
        <a:solidFill>
          <a:schemeClr val="accent4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</dgm:spPr>
      <dgm:t>
        <a:bodyPr/>
        <a:lstStyle/>
        <a:p>
          <a:endParaRPr lang="en-US"/>
        </a:p>
      </dgm:t>
    </dgm:pt>
    <dgm:pt modelId="{9555E0A9-D974-4F4E-8020-CD09010200C1}">
      <dgm:prSet phldrT="[Text]" custT="1"/>
      <dgm:spPr>
        <a:solidFill>
          <a:schemeClr val="accent5">
            <a:lumMod val="20000"/>
            <a:lumOff val="80000"/>
          </a:schemeClr>
        </a:solidFill>
        <a:ln w="57150">
          <a:solidFill>
            <a:srgbClr val="002060"/>
          </a:solidFill>
        </a:ln>
      </dgm:spPr>
      <dgm:t>
        <a:bodyPr/>
        <a:lstStyle/>
        <a:p>
          <a:r>
            <a:rPr lang="en-US" sz="1400" b="1" dirty="0">
              <a:solidFill>
                <a:srgbClr val="002060"/>
              </a:solidFill>
            </a:rPr>
            <a:t>Freight</a:t>
          </a:r>
          <a:r>
            <a:rPr lang="en-US" sz="1200" b="1" dirty="0">
              <a:solidFill>
                <a:srgbClr val="002060"/>
              </a:solidFill>
            </a:rPr>
            <a:t> Cost Index</a:t>
          </a:r>
        </a:p>
      </dgm:t>
    </dgm:pt>
    <dgm:pt modelId="{2E5976DB-13D8-4FD8-9B2E-A7688C0C3DB1}" type="parTrans" cxnId="{2CF41F39-6410-4E49-9F9E-CB260577463B}">
      <dgm:prSet/>
      <dgm:spPr/>
      <dgm:t>
        <a:bodyPr/>
        <a:lstStyle/>
        <a:p>
          <a:endParaRPr lang="en-US"/>
        </a:p>
      </dgm:t>
    </dgm:pt>
    <dgm:pt modelId="{AFE7FBF8-98A9-423E-8F9C-4753A85E12A8}" type="sibTrans" cxnId="{2CF41F39-6410-4E49-9F9E-CB260577463B}">
      <dgm:prSet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endParaRPr lang="en-US"/>
        </a:p>
      </dgm:t>
    </dgm:pt>
    <dgm:pt modelId="{B4F44E27-0385-45DB-9AD4-9892889347FD}">
      <dgm:prSet phldrT="[Text]" custT="1"/>
      <dgm:spPr>
        <a:solidFill>
          <a:schemeClr val="accent5">
            <a:lumMod val="20000"/>
            <a:lumOff val="80000"/>
          </a:schemeClr>
        </a:solidFill>
        <a:ln w="57150">
          <a:solidFill>
            <a:srgbClr val="002060"/>
          </a:solidFill>
        </a:ln>
      </dgm:spPr>
      <dgm:t>
        <a:bodyPr/>
        <a:lstStyle/>
        <a:p>
          <a:r>
            <a:rPr lang="en-US" sz="1200" b="1" dirty="0">
              <a:solidFill>
                <a:srgbClr val="002060"/>
              </a:solidFill>
            </a:rPr>
            <a:t>Milestone </a:t>
          </a:r>
          <a:r>
            <a:rPr lang="en-US" sz="1000" b="1" dirty="0">
              <a:solidFill>
                <a:srgbClr val="002060"/>
              </a:solidFill>
            </a:rPr>
            <a:t>Intelligence</a:t>
          </a:r>
        </a:p>
      </dgm:t>
    </dgm:pt>
    <dgm:pt modelId="{3AE67887-9031-4F7F-BA3B-B4E544BF5306}" type="parTrans" cxnId="{675CF3F0-89B5-481C-8FBC-447EB74409EC}">
      <dgm:prSet/>
      <dgm:spPr/>
      <dgm:t>
        <a:bodyPr/>
        <a:lstStyle/>
        <a:p>
          <a:endParaRPr lang="en-US"/>
        </a:p>
      </dgm:t>
    </dgm:pt>
    <dgm:pt modelId="{0ACD7897-8CF0-49F3-A1AB-D9AF68A6A65A}" type="sibTrans" cxnId="{675CF3F0-89B5-481C-8FBC-447EB74409EC}">
      <dgm:prSet/>
      <dgm:spPr>
        <a:solidFill>
          <a:schemeClr val="accent5">
            <a:lumMod val="20000"/>
            <a:lumOff val="80000"/>
          </a:schemeClr>
        </a:solidFill>
        <a:ln>
          <a:solidFill>
            <a:schemeClr val="accent5">
              <a:lumMod val="20000"/>
              <a:lumOff val="80000"/>
            </a:schemeClr>
          </a:solidFill>
        </a:ln>
      </dgm:spPr>
      <dgm:t>
        <a:bodyPr/>
        <a:lstStyle/>
        <a:p>
          <a:endParaRPr lang="en-US"/>
        </a:p>
      </dgm:t>
    </dgm:pt>
    <dgm:pt modelId="{753DC966-9D7F-45B7-9419-9C36FE98C6C6}">
      <dgm:prSet phldrT="[Text]"/>
      <dgm:spPr>
        <a:solidFill>
          <a:schemeClr val="accent5">
            <a:lumMod val="20000"/>
            <a:lumOff val="80000"/>
          </a:schemeClr>
        </a:solidFill>
        <a:ln w="57150">
          <a:solidFill>
            <a:srgbClr val="002060"/>
          </a:solidFill>
        </a:ln>
      </dgm:spPr>
      <dgm:t>
        <a:bodyPr/>
        <a:lstStyle/>
        <a:p>
          <a:endParaRPr lang="en-US"/>
        </a:p>
      </dgm:t>
    </dgm:pt>
    <dgm:pt modelId="{881718E3-276D-4180-8447-921968811AEB}" type="parTrans" cxnId="{FD710725-EB55-400B-AA30-CC18E536DAB0}">
      <dgm:prSet/>
      <dgm:spPr/>
      <dgm:t>
        <a:bodyPr/>
        <a:lstStyle/>
        <a:p>
          <a:endParaRPr lang="en-US"/>
        </a:p>
      </dgm:t>
    </dgm:pt>
    <dgm:pt modelId="{8F1FD223-FBF5-4FC7-94A1-7394AFCF811D}" type="sibTrans" cxnId="{FD710725-EB55-400B-AA30-CC18E536DAB0}">
      <dgm:prSet/>
      <dgm:spPr/>
      <dgm:t>
        <a:bodyPr/>
        <a:lstStyle/>
        <a:p>
          <a:endParaRPr lang="en-US"/>
        </a:p>
      </dgm:t>
    </dgm:pt>
    <dgm:pt modelId="{34FA4393-7936-45D4-B9B0-6865BD14079D}">
      <dgm:prSet phldrT="[Text]" custT="1"/>
      <dgm:spPr>
        <a:solidFill>
          <a:schemeClr val="accent5">
            <a:lumMod val="20000"/>
            <a:lumOff val="80000"/>
          </a:schemeClr>
        </a:solidFill>
        <a:ln w="57150">
          <a:solidFill>
            <a:srgbClr val="002060"/>
          </a:solidFill>
        </a:ln>
      </dgm:spPr>
      <dgm:t>
        <a:bodyPr/>
        <a:lstStyle/>
        <a:p>
          <a:r>
            <a:rPr lang="en-US" sz="1200" b="1" dirty="0">
              <a:solidFill>
                <a:srgbClr val="002060"/>
              </a:solidFill>
            </a:rPr>
            <a:t>Route </a:t>
          </a:r>
          <a:r>
            <a:rPr lang="en-US" sz="1000" b="1" dirty="0">
              <a:solidFill>
                <a:srgbClr val="002060"/>
              </a:solidFill>
            </a:rPr>
            <a:t>Optimization</a:t>
          </a:r>
        </a:p>
      </dgm:t>
    </dgm:pt>
    <dgm:pt modelId="{2407E0F4-3595-4241-B150-0F1382EF00E6}" type="parTrans" cxnId="{92564B2C-3C5D-4B9C-B1AE-0842730A0592}">
      <dgm:prSet/>
      <dgm:spPr/>
      <dgm:t>
        <a:bodyPr/>
        <a:lstStyle/>
        <a:p>
          <a:endParaRPr lang="en-US"/>
        </a:p>
      </dgm:t>
    </dgm:pt>
    <dgm:pt modelId="{3DF3D9F1-6F44-4DF1-9CA1-25EFE6367A3E}" type="sibTrans" cxnId="{92564B2C-3C5D-4B9C-B1AE-0842730A0592}">
      <dgm:prSet/>
      <dgm:spPr>
        <a:solidFill>
          <a:schemeClr val="accent5">
            <a:lumMod val="20000"/>
            <a:lumOff val="80000"/>
          </a:schemeClr>
        </a:solidFill>
        <a:ln>
          <a:solidFill>
            <a:schemeClr val="accent5">
              <a:lumMod val="20000"/>
              <a:lumOff val="80000"/>
            </a:schemeClr>
          </a:solidFill>
        </a:ln>
      </dgm:spPr>
      <dgm:t>
        <a:bodyPr/>
        <a:lstStyle/>
        <a:p>
          <a:endParaRPr lang="en-US"/>
        </a:p>
      </dgm:t>
    </dgm:pt>
    <dgm:pt modelId="{E1B2F079-112D-47E8-B6FF-430146172755}" type="pres">
      <dgm:prSet presAssocID="{57CAEC3D-8A97-4B08-950D-D7C2141000E0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E70C452C-3CE8-45AC-8C28-3ECBD0D882D3}" type="pres">
      <dgm:prSet presAssocID="{26E5E04C-C225-4AF9-AB6E-62F0FB50BEE5}" presName="centerShape" presStyleLbl="node0" presStyleIdx="0" presStyleCnt="1" custLinFactNeighborY="43"/>
      <dgm:spPr/>
    </dgm:pt>
    <dgm:pt modelId="{167601D3-BEEA-42FC-9C74-FC1F763D5ADD}" type="pres">
      <dgm:prSet presAssocID="{8C84F427-737A-43E3-A0AD-084CBB38021C}" presName="node" presStyleLbl="node1" presStyleIdx="0" presStyleCnt="9">
        <dgm:presLayoutVars>
          <dgm:bulletEnabled val="1"/>
        </dgm:presLayoutVars>
      </dgm:prSet>
      <dgm:spPr/>
    </dgm:pt>
    <dgm:pt modelId="{6CB84CD7-E297-4D7F-8097-AC2AAB615A3C}" type="pres">
      <dgm:prSet presAssocID="{8C84F427-737A-43E3-A0AD-084CBB38021C}" presName="dummy" presStyleCnt="0"/>
      <dgm:spPr/>
    </dgm:pt>
    <dgm:pt modelId="{BC0C1800-280B-4A7E-9917-CE22A8C6A553}" type="pres">
      <dgm:prSet presAssocID="{CFCC2F40-B3D7-4A2B-B92B-3801B8858CC0}" presName="sibTrans" presStyleLbl="sibTrans2D1" presStyleIdx="0" presStyleCnt="9"/>
      <dgm:spPr/>
    </dgm:pt>
    <dgm:pt modelId="{75A5C22E-A34F-4C43-AA36-B721EB5ACC87}" type="pres">
      <dgm:prSet presAssocID="{0CB40391-1ECF-4D68-B0FE-8E87E8B0C444}" presName="node" presStyleLbl="node1" presStyleIdx="1" presStyleCnt="9">
        <dgm:presLayoutVars>
          <dgm:bulletEnabled val="1"/>
        </dgm:presLayoutVars>
      </dgm:prSet>
      <dgm:spPr/>
    </dgm:pt>
    <dgm:pt modelId="{DAFC19EA-A755-4045-BA59-C223EED2BC62}" type="pres">
      <dgm:prSet presAssocID="{0CB40391-1ECF-4D68-B0FE-8E87E8B0C444}" presName="dummy" presStyleCnt="0"/>
      <dgm:spPr/>
    </dgm:pt>
    <dgm:pt modelId="{CDBC316D-E849-4244-BE55-FEBC0AFBB287}" type="pres">
      <dgm:prSet presAssocID="{86282F3A-535D-47BA-94F5-047464679340}" presName="sibTrans" presStyleLbl="sibTrans2D1" presStyleIdx="1" presStyleCnt="9"/>
      <dgm:spPr/>
    </dgm:pt>
    <dgm:pt modelId="{7A78DB30-EB00-4E57-8DF6-8E20523E6EA0}" type="pres">
      <dgm:prSet presAssocID="{BB2C9836-B825-4D2D-93DE-F5566F63DC53}" presName="node" presStyleLbl="node1" presStyleIdx="2" presStyleCnt="9">
        <dgm:presLayoutVars>
          <dgm:bulletEnabled val="1"/>
        </dgm:presLayoutVars>
      </dgm:prSet>
      <dgm:spPr/>
    </dgm:pt>
    <dgm:pt modelId="{8A5B9875-1DAD-4FF9-B146-854E7BFB4847}" type="pres">
      <dgm:prSet presAssocID="{BB2C9836-B825-4D2D-93DE-F5566F63DC53}" presName="dummy" presStyleCnt="0"/>
      <dgm:spPr/>
    </dgm:pt>
    <dgm:pt modelId="{27882A11-7510-4203-B7D3-30BB3A765787}" type="pres">
      <dgm:prSet presAssocID="{5F95298D-1985-445C-BEDC-C53526C131DB}" presName="sibTrans" presStyleLbl="sibTrans2D1" presStyleIdx="2" presStyleCnt="9"/>
      <dgm:spPr/>
    </dgm:pt>
    <dgm:pt modelId="{CF09396A-AC70-462F-B604-FE890AFA5132}" type="pres">
      <dgm:prSet presAssocID="{7F563F28-49BE-4425-840F-0B4A998A8DE2}" presName="node" presStyleLbl="node1" presStyleIdx="3" presStyleCnt="9">
        <dgm:presLayoutVars>
          <dgm:bulletEnabled val="1"/>
        </dgm:presLayoutVars>
      </dgm:prSet>
      <dgm:spPr/>
    </dgm:pt>
    <dgm:pt modelId="{CF69CD1B-B2C7-4289-9738-A293899A44D1}" type="pres">
      <dgm:prSet presAssocID="{7F563F28-49BE-4425-840F-0B4A998A8DE2}" presName="dummy" presStyleCnt="0"/>
      <dgm:spPr/>
    </dgm:pt>
    <dgm:pt modelId="{BE30A738-DCC6-44D0-ACB6-9FB2179C1AC9}" type="pres">
      <dgm:prSet presAssocID="{E57507DF-99C1-4761-970D-39CE737802BE}" presName="sibTrans" presStyleLbl="sibTrans2D1" presStyleIdx="3" presStyleCnt="9"/>
      <dgm:spPr/>
    </dgm:pt>
    <dgm:pt modelId="{BFE20957-F04D-42D4-81DD-A84994B15780}" type="pres">
      <dgm:prSet presAssocID="{DFA2AD33-D3BE-42FA-9888-614937863FAC}" presName="node" presStyleLbl="node1" presStyleIdx="4" presStyleCnt="9">
        <dgm:presLayoutVars>
          <dgm:bulletEnabled val="1"/>
        </dgm:presLayoutVars>
      </dgm:prSet>
      <dgm:spPr/>
    </dgm:pt>
    <dgm:pt modelId="{B034A42C-4BF1-4B65-8E14-AEC6755EAFFC}" type="pres">
      <dgm:prSet presAssocID="{DFA2AD33-D3BE-42FA-9888-614937863FAC}" presName="dummy" presStyleCnt="0"/>
      <dgm:spPr/>
    </dgm:pt>
    <dgm:pt modelId="{E34B2A0F-FD5F-4382-9FB0-C55FBAAC8324}" type="pres">
      <dgm:prSet presAssocID="{AF7E9D2E-A7DA-40F9-8C0F-A5878EBF7AA2}" presName="sibTrans" presStyleLbl="sibTrans2D1" presStyleIdx="4" presStyleCnt="9"/>
      <dgm:spPr/>
    </dgm:pt>
    <dgm:pt modelId="{F273F32D-9636-4F23-85A2-0803CC6C2041}" type="pres">
      <dgm:prSet presAssocID="{9555E0A9-D974-4F4E-8020-CD09010200C1}" presName="node" presStyleLbl="node1" presStyleIdx="5" presStyleCnt="9">
        <dgm:presLayoutVars>
          <dgm:bulletEnabled val="1"/>
        </dgm:presLayoutVars>
      </dgm:prSet>
      <dgm:spPr/>
    </dgm:pt>
    <dgm:pt modelId="{A59B4EEF-2F99-42FF-90C1-1C3B88838143}" type="pres">
      <dgm:prSet presAssocID="{9555E0A9-D974-4F4E-8020-CD09010200C1}" presName="dummy" presStyleCnt="0"/>
      <dgm:spPr/>
    </dgm:pt>
    <dgm:pt modelId="{6BEC7B0A-935D-4C9A-A5A1-217F7F99F07B}" type="pres">
      <dgm:prSet presAssocID="{AFE7FBF8-98A9-423E-8F9C-4753A85E12A8}" presName="sibTrans" presStyleLbl="sibTrans2D1" presStyleIdx="5" presStyleCnt="9"/>
      <dgm:spPr/>
    </dgm:pt>
    <dgm:pt modelId="{24BA5B73-C818-4465-8E4D-DC2F7CA9C5CF}" type="pres">
      <dgm:prSet presAssocID="{2120791D-98DC-4DAB-A95D-6A5901C3E8FB}" presName="node" presStyleLbl="node1" presStyleIdx="6" presStyleCnt="9">
        <dgm:presLayoutVars>
          <dgm:bulletEnabled val="1"/>
        </dgm:presLayoutVars>
      </dgm:prSet>
      <dgm:spPr/>
    </dgm:pt>
    <dgm:pt modelId="{39F458DF-B033-47F5-ADCC-469FEE078FFE}" type="pres">
      <dgm:prSet presAssocID="{2120791D-98DC-4DAB-A95D-6A5901C3E8FB}" presName="dummy" presStyleCnt="0"/>
      <dgm:spPr/>
    </dgm:pt>
    <dgm:pt modelId="{C18293F2-97DB-4495-A5FB-42F257F5F95A}" type="pres">
      <dgm:prSet presAssocID="{BAC317D4-650A-47A1-BB2D-9F5055D0AC4D}" presName="sibTrans" presStyleLbl="sibTrans2D1" presStyleIdx="6" presStyleCnt="9"/>
      <dgm:spPr/>
    </dgm:pt>
    <dgm:pt modelId="{7EA5E49F-F0E8-4D32-89D0-253FDB7A1622}" type="pres">
      <dgm:prSet presAssocID="{B4F44E27-0385-45DB-9AD4-9892889347FD}" presName="node" presStyleLbl="node1" presStyleIdx="7" presStyleCnt="9">
        <dgm:presLayoutVars>
          <dgm:bulletEnabled val="1"/>
        </dgm:presLayoutVars>
      </dgm:prSet>
      <dgm:spPr/>
    </dgm:pt>
    <dgm:pt modelId="{525D249C-EF12-4207-A648-C8EBCC11DAC5}" type="pres">
      <dgm:prSet presAssocID="{B4F44E27-0385-45DB-9AD4-9892889347FD}" presName="dummy" presStyleCnt="0"/>
      <dgm:spPr/>
    </dgm:pt>
    <dgm:pt modelId="{9F17267C-24AC-42E3-891E-4360596BF506}" type="pres">
      <dgm:prSet presAssocID="{0ACD7897-8CF0-49F3-A1AB-D9AF68A6A65A}" presName="sibTrans" presStyleLbl="sibTrans2D1" presStyleIdx="7" presStyleCnt="9"/>
      <dgm:spPr/>
    </dgm:pt>
    <dgm:pt modelId="{138C749A-E0CF-419C-B94B-265FF8FCD1BF}" type="pres">
      <dgm:prSet presAssocID="{34FA4393-7936-45D4-B9B0-6865BD14079D}" presName="node" presStyleLbl="node1" presStyleIdx="8" presStyleCnt="9">
        <dgm:presLayoutVars>
          <dgm:bulletEnabled val="1"/>
        </dgm:presLayoutVars>
      </dgm:prSet>
      <dgm:spPr/>
    </dgm:pt>
    <dgm:pt modelId="{E4F8FF3E-D059-4FB6-9335-824DE6BF6134}" type="pres">
      <dgm:prSet presAssocID="{34FA4393-7936-45D4-B9B0-6865BD14079D}" presName="dummy" presStyleCnt="0"/>
      <dgm:spPr/>
    </dgm:pt>
    <dgm:pt modelId="{FBFEAC29-DDE8-4EEC-B5EB-A431E42E5FDE}" type="pres">
      <dgm:prSet presAssocID="{3DF3D9F1-6F44-4DF1-9CA1-25EFE6367A3E}" presName="sibTrans" presStyleLbl="sibTrans2D1" presStyleIdx="8" presStyleCnt="9"/>
      <dgm:spPr/>
    </dgm:pt>
  </dgm:ptLst>
  <dgm:cxnLst>
    <dgm:cxn modelId="{488FD100-63B8-42A5-914E-5841DC7A1F71}" type="presOf" srcId="{86282F3A-535D-47BA-94F5-047464679340}" destId="{CDBC316D-E849-4244-BE55-FEBC0AFBB287}" srcOrd="0" destOrd="0" presId="urn:microsoft.com/office/officeart/2005/8/layout/radial6"/>
    <dgm:cxn modelId="{4F92F005-F182-43B4-9E05-A0550E97AFE3}" type="presOf" srcId="{B4F44E27-0385-45DB-9AD4-9892889347FD}" destId="{7EA5E49F-F0E8-4D32-89D0-253FDB7A1622}" srcOrd="0" destOrd="0" presId="urn:microsoft.com/office/officeart/2005/8/layout/radial6"/>
    <dgm:cxn modelId="{77806506-4F6B-4EA2-A7BC-3DAF4953DD36}" type="presOf" srcId="{0ACD7897-8CF0-49F3-A1AB-D9AF68A6A65A}" destId="{9F17267C-24AC-42E3-891E-4360596BF506}" srcOrd="0" destOrd="0" presId="urn:microsoft.com/office/officeart/2005/8/layout/radial6"/>
    <dgm:cxn modelId="{86DEF608-E1AC-434B-91E5-641042A16012}" type="presOf" srcId="{BB2C9836-B825-4D2D-93DE-F5566F63DC53}" destId="{7A78DB30-EB00-4E57-8DF6-8E20523E6EA0}" srcOrd="0" destOrd="0" presId="urn:microsoft.com/office/officeart/2005/8/layout/radial6"/>
    <dgm:cxn modelId="{3FB7CE20-5880-4754-8986-6A10C4EC053E}" srcId="{26E5E04C-C225-4AF9-AB6E-62F0FB50BEE5}" destId="{0CB40391-1ECF-4D68-B0FE-8E87E8B0C444}" srcOrd="1" destOrd="0" parTransId="{2240F0F8-B05B-404B-A189-ED94EF77BA27}" sibTransId="{86282F3A-535D-47BA-94F5-047464679340}"/>
    <dgm:cxn modelId="{FD710725-EB55-400B-AA30-CC18E536DAB0}" srcId="{57CAEC3D-8A97-4B08-950D-D7C2141000E0}" destId="{753DC966-9D7F-45B7-9419-9C36FE98C6C6}" srcOrd="2" destOrd="0" parTransId="{881718E3-276D-4180-8447-921968811AEB}" sibTransId="{8F1FD223-FBF5-4FC7-94A1-7394AFCF811D}"/>
    <dgm:cxn modelId="{FB365F26-9902-4CAD-90E3-A00522EF04C6}" srcId="{57CAEC3D-8A97-4B08-950D-D7C2141000E0}" destId="{26E5E04C-C225-4AF9-AB6E-62F0FB50BEE5}" srcOrd="0" destOrd="0" parTransId="{B48C7053-52C3-4CDE-B5CF-09818983A813}" sibTransId="{0E478B6B-EB64-42F2-A7B0-59985E4439DB}"/>
    <dgm:cxn modelId="{A6252C2C-3697-49C5-8EB1-A50DFFFF2F84}" srcId="{26E5E04C-C225-4AF9-AB6E-62F0FB50BEE5}" destId="{DFA2AD33-D3BE-42FA-9888-614937863FAC}" srcOrd="4" destOrd="0" parTransId="{8D10492F-04B0-4F4A-8E59-B5E54B5A47A0}" sibTransId="{AF7E9D2E-A7DA-40F9-8C0F-A5878EBF7AA2}"/>
    <dgm:cxn modelId="{92564B2C-3C5D-4B9C-B1AE-0842730A0592}" srcId="{26E5E04C-C225-4AF9-AB6E-62F0FB50BEE5}" destId="{34FA4393-7936-45D4-B9B0-6865BD14079D}" srcOrd="8" destOrd="0" parTransId="{2407E0F4-3595-4241-B150-0F1382EF00E6}" sibTransId="{3DF3D9F1-6F44-4DF1-9CA1-25EFE6367A3E}"/>
    <dgm:cxn modelId="{2CF41F39-6410-4E49-9F9E-CB260577463B}" srcId="{26E5E04C-C225-4AF9-AB6E-62F0FB50BEE5}" destId="{9555E0A9-D974-4F4E-8020-CD09010200C1}" srcOrd="5" destOrd="0" parTransId="{2E5976DB-13D8-4FD8-9B2E-A7688C0C3DB1}" sibTransId="{AFE7FBF8-98A9-423E-8F9C-4753A85E12A8}"/>
    <dgm:cxn modelId="{E304823A-6828-4CC4-881F-004D67132806}" srcId="{26E5E04C-C225-4AF9-AB6E-62F0FB50BEE5}" destId="{BB2C9836-B825-4D2D-93DE-F5566F63DC53}" srcOrd="2" destOrd="0" parTransId="{ACB1E303-4A70-48A3-A3A0-BBCB408E9B07}" sibTransId="{5F95298D-1985-445C-BEDC-C53526C131DB}"/>
    <dgm:cxn modelId="{4A5B4464-4976-444D-BF35-6055C000D528}" type="presOf" srcId="{BAC317D4-650A-47A1-BB2D-9F5055D0AC4D}" destId="{C18293F2-97DB-4495-A5FB-42F257F5F95A}" srcOrd="0" destOrd="0" presId="urn:microsoft.com/office/officeart/2005/8/layout/radial6"/>
    <dgm:cxn modelId="{3D389B49-F17A-4FA8-B54C-E89591DD7A40}" type="presOf" srcId="{7F563F28-49BE-4425-840F-0B4A998A8DE2}" destId="{CF09396A-AC70-462F-B604-FE890AFA5132}" srcOrd="0" destOrd="0" presId="urn:microsoft.com/office/officeart/2005/8/layout/radial6"/>
    <dgm:cxn modelId="{A887CB75-5976-4740-9887-F467A0658885}" type="presOf" srcId="{AF7E9D2E-A7DA-40F9-8C0F-A5878EBF7AA2}" destId="{E34B2A0F-FD5F-4382-9FB0-C55FBAAC8324}" srcOrd="0" destOrd="0" presId="urn:microsoft.com/office/officeart/2005/8/layout/radial6"/>
    <dgm:cxn modelId="{DE676057-1802-437D-97F0-B509A08ABC50}" type="presOf" srcId="{8C84F427-737A-43E3-A0AD-084CBB38021C}" destId="{167601D3-BEEA-42FC-9C74-FC1F763D5ADD}" srcOrd="0" destOrd="0" presId="urn:microsoft.com/office/officeart/2005/8/layout/radial6"/>
    <dgm:cxn modelId="{09587F78-8C60-44B2-BE64-12099952A855}" type="presOf" srcId="{26E5E04C-C225-4AF9-AB6E-62F0FB50BEE5}" destId="{E70C452C-3CE8-45AC-8C28-3ECBD0D882D3}" srcOrd="0" destOrd="0" presId="urn:microsoft.com/office/officeart/2005/8/layout/radial6"/>
    <dgm:cxn modelId="{1E7BF658-B764-4FF6-A840-F70D79C28F9F}" type="presOf" srcId="{57CAEC3D-8A97-4B08-950D-D7C2141000E0}" destId="{E1B2F079-112D-47E8-B6FF-430146172755}" srcOrd="0" destOrd="0" presId="urn:microsoft.com/office/officeart/2005/8/layout/radial6"/>
    <dgm:cxn modelId="{55174D81-9139-4CB7-9796-9033A7195557}" type="presOf" srcId="{0CB40391-1ECF-4D68-B0FE-8E87E8B0C444}" destId="{75A5C22E-A34F-4C43-AA36-B721EB5ACC87}" srcOrd="0" destOrd="0" presId="urn:microsoft.com/office/officeart/2005/8/layout/radial6"/>
    <dgm:cxn modelId="{7CA95887-0A85-4A44-82E4-5B6CE2C0BE37}" type="presOf" srcId="{5F95298D-1985-445C-BEDC-C53526C131DB}" destId="{27882A11-7510-4203-B7D3-30BB3A765787}" srcOrd="0" destOrd="0" presId="urn:microsoft.com/office/officeart/2005/8/layout/radial6"/>
    <dgm:cxn modelId="{18644988-F3A2-43BD-8BE1-CF5571BF79EF}" srcId="{26E5E04C-C225-4AF9-AB6E-62F0FB50BEE5}" destId="{8C84F427-737A-43E3-A0AD-084CBB38021C}" srcOrd="0" destOrd="0" parTransId="{B1FBC2A2-DD39-46E9-9956-387A5FE49D67}" sibTransId="{CFCC2F40-B3D7-4A2B-B92B-3801B8858CC0}"/>
    <dgm:cxn modelId="{A213B399-4D42-441E-A033-78CD2311F753}" type="presOf" srcId="{3DF3D9F1-6F44-4DF1-9CA1-25EFE6367A3E}" destId="{FBFEAC29-DDE8-4EEC-B5EB-A431E42E5FDE}" srcOrd="0" destOrd="0" presId="urn:microsoft.com/office/officeart/2005/8/layout/radial6"/>
    <dgm:cxn modelId="{F791B4A8-1CB3-4569-A101-EB2804D34259}" srcId="{26E5E04C-C225-4AF9-AB6E-62F0FB50BEE5}" destId="{2120791D-98DC-4DAB-A95D-6A5901C3E8FB}" srcOrd="6" destOrd="0" parTransId="{C09A90EC-D10A-4FCB-A3A0-E3E9D409921F}" sibTransId="{BAC317D4-650A-47A1-BB2D-9F5055D0AC4D}"/>
    <dgm:cxn modelId="{F1951ABD-8C18-498D-8FF4-44DAB62F30F9}" type="presOf" srcId="{E57507DF-99C1-4761-970D-39CE737802BE}" destId="{BE30A738-DCC6-44D0-ACB6-9FB2179C1AC9}" srcOrd="0" destOrd="0" presId="urn:microsoft.com/office/officeart/2005/8/layout/radial6"/>
    <dgm:cxn modelId="{3B3063C7-C862-4114-B286-C38172FB0A96}" srcId="{57CAEC3D-8A97-4B08-950D-D7C2141000E0}" destId="{022A67FF-CDD2-4340-A668-8C372D53D485}" srcOrd="1" destOrd="0" parTransId="{B71FF117-C426-4FF2-A685-B16D72E5DAFB}" sibTransId="{942C0A25-74E9-45F8-BCBE-CDA4E5D70C90}"/>
    <dgm:cxn modelId="{283A58C7-756B-4588-B88E-D57D984B3FCE}" srcId="{26E5E04C-C225-4AF9-AB6E-62F0FB50BEE5}" destId="{7F563F28-49BE-4425-840F-0B4A998A8DE2}" srcOrd="3" destOrd="0" parTransId="{5C4EB552-DA3A-4C87-ABB9-2986B704E4D0}" sibTransId="{E57507DF-99C1-4761-970D-39CE737802BE}"/>
    <dgm:cxn modelId="{D223A1CE-6858-4AE2-906A-BCCC2F2E0569}" type="presOf" srcId="{2120791D-98DC-4DAB-A95D-6A5901C3E8FB}" destId="{24BA5B73-C818-4465-8E4D-DC2F7CA9C5CF}" srcOrd="0" destOrd="0" presId="urn:microsoft.com/office/officeart/2005/8/layout/radial6"/>
    <dgm:cxn modelId="{1B5749D3-BD60-4554-BA1E-B74DD2E6D7BD}" type="presOf" srcId="{CFCC2F40-B3D7-4A2B-B92B-3801B8858CC0}" destId="{BC0C1800-280B-4A7E-9917-CE22A8C6A553}" srcOrd="0" destOrd="0" presId="urn:microsoft.com/office/officeart/2005/8/layout/radial6"/>
    <dgm:cxn modelId="{CB661AD6-1D47-4D8B-944D-8D245D3D81A0}" type="presOf" srcId="{9555E0A9-D974-4F4E-8020-CD09010200C1}" destId="{F273F32D-9636-4F23-85A2-0803CC6C2041}" srcOrd="0" destOrd="0" presId="urn:microsoft.com/office/officeart/2005/8/layout/radial6"/>
    <dgm:cxn modelId="{1CFB2BD6-0CB8-4C74-AA27-10C7B430251D}" type="presOf" srcId="{AFE7FBF8-98A9-423E-8F9C-4753A85E12A8}" destId="{6BEC7B0A-935D-4C9A-A5A1-217F7F99F07B}" srcOrd="0" destOrd="0" presId="urn:microsoft.com/office/officeart/2005/8/layout/radial6"/>
    <dgm:cxn modelId="{A32690D8-01D2-43AA-81F5-57FF1DC46E26}" type="presOf" srcId="{DFA2AD33-D3BE-42FA-9888-614937863FAC}" destId="{BFE20957-F04D-42D4-81DD-A84994B15780}" srcOrd="0" destOrd="0" presId="urn:microsoft.com/office/officeart/2005/8/layout/radial6"/>
    <dgm:cxn modelId="{1C515BE5-8CD1-4DA9-9564-66FA8D61BAD1}" type="presOf" srcId="{34FA4393-7936-45D4-B9B0-6865BD14079D}" destId="{138C749A-E0CF-419C-B94B-265FF8FCD1BF}" srcOrd="0" destOrd="0" presId="urn:microsoft.com/office/officeart/2005/8/layout/radial6"/>
    <dgm:cxn modelId="{675CF3F0-89B5-481C-8FBC-447EB74409EC}" srcId="{26E5E04C-C225-4AF9-AB6E-62F0FB50BEE5}" destId="{B4F44E27-0385-45DB-9AD4-9892889347FD}" srcOrd="7" destOrd="0" parTransId="{3AE67887-9031-4F7F-BA3B-B4E544BF5306}" sibTransId="{0ACD7897-8CF0-49F3-A1AB-D9AF68A6A65A}"/>
    <dgm:cxn modelId="{DE4ABC87-2BFF-497B-9C7C-ABCA76B45FD8}" type="presParOf" srcId="{E1B2F079-112D-47E8-B6FF-430146172755}" destId="{E70C452C-3CE8-45AC-8C28-3ECBD0D882D3}" srcOrd="0" destOrd="0" presId="urn:microsoft.com/office/officeart/2005/8/layout/radial6"/>
    <dgm:cxn modelId="{D76CC198-A8F3-48DB-B967-98EA883A5C4C}" type="presParOf" srcId="{E1B2F079-112D-47E8-B6FF-430146172755}" destId="{167601D3-BEEA-42FC-9C74-FC1F763D5ADD}" srcOrd="1" destOrd="0" presId="urn:microsoft.com/office/officeart/2005/8/layout/radial6"/>
    <dgm:cxn modelId="{FC287ABC-DBFB-44CB-8DB2-225B18E6D936}" type="presParOf" srcId="{E1B2F079-112D-47E8-B6FF-430146172755}" destId="{6CB84CD7-E297-4D7F-8097-AC2AAB615A3C}" srcOrd="2" destOrd="0" presId="urn:microsoft.com/office/officeart/2005/8/layout/radial6"/>
    <dgm:cxn modelId="{F5A7B672-0EA6-4B34-B100-E82E8B050030}" type="presParOf" srcId="{E1B2F079-112D-47E8-B6FF-430146172755}" destId="{BC0C1800-280B-4A7E-9917-CE22A8C6A553}" srcOrd="3" destOrd="0" presId="urn:microsoft.com/office/officeart/2005/8/layout/radial6"/>
    <dgm:cxn modelId="{CB743B1F-7A33-418F-9A37-C976133886C2}" type="presParOf" srcId="{E1B2F079-112D-47E8-B6FF-430146172755}" destId="{75A5C22E-A34F-4C43-AA36-B721EB5ACC87}" srcOrd="4" destOrd="0" presId="urn:microsoft.com/office/officeart/2005/8/layout/radial6"/>
    <dgm:cxn modelId="{0DF42494-68F6-4671-A9A6-2CB1C507B229}" type="presParOf" srcId="{E1B2F079-112D-47E8-B6FF-430146172755}" destId="{DAFC19EA-A755-4045-BA59-C223EED2BC62}" srcOrd="5" destOrd="0" presId="urn:microsoft.com/office/officeart/2005/8/layout/radial6"/>
    <dgm:cxn modelId="{EB0BC205-95A9-4FA7-9359-AFB4F01E6585}" type="presParOf" srcId="{E1B2F079-112D-47E8-B6FF-430146172755}" destId="{CDBC316D-E849-4244-BE55-FEBC0AFBB287}" srcOrd="6" destOrd="0" presId="urn:microsoft.com/office/officeart/2005/8/layout/radial6"/>
    <dgm:cxn modelId="{359B14CA-571A-49C0-9FCF-96DA2FC33E83}" type="presParOf" srcId="{E1B2F079-112D-47E8-B6FF-430146172755}" destId="{7A78DB30-EB00-4E57-8DF6-8E20523E6EA0}" srcOrd="7" destOrd="0" presId="urn:microsoft.com/office/officeart/2005/8/layout/radial6"/>
    <dgm:cxn modelId="{4B66C97D-86DF-4645-8574-FF7453C95616}" type="presParOf" srcId="{E1B2F079-112D-47E8-B6FF-430146172755}" destId="{8A5B9875-1DAD-4FF9-B146-854E7BFB4847}" srcOrd="8" destOrd="0" presId="urn:microsoft.com/office/officeart/2005/8/layout/radial6"/>
    <dgm:cxn modelId="{B59AFB20-BC94-4281-B99D-7B400CDBB480}" type="presParOf" srcId="{E1B2F079-112D-47E8-B6FF-430146172755}" destId="{27882A11-7510-4203-B7D3-30BB3A765787}" srcOrd="9" destOrd="0" presId="urn:microsoft.com/office/officeart/2005/8/layout/radial6"/>
    <dgm:cxn modelId="{B3F3AC4F-28C5-4AA7-9819-03EC317735F4}" type="presParOf" srcId="{E1B2F079-112D-47E8-B6FF-430146172755}" destId="{CF09396A-AC70-462F-B604-FE890AFA5132}" srcOrd="10" destOrd="0" presId="urn:microsoft.com/office/officeart/2005/8/layout/radial6"/>
    <dgm:cxn modelId="{277678C6-0DF2-4482-B850-0F7C53DE5A22}" type="presParOf" srcId="{E1B2F079-112D-47E8-B6FF-430146172755}" destId="{CF69CD1B-B2C7-4289-9738-A293899A44D1}" srcOrd="11" destOrd="0" presId="urn:microsoft.com/office/officeart/2005/8/layout/radial6"/>
    <dgm:cxn modelId="{17A7F20B-59EA-493A-BD2A-74CF8781CD1E}" type="presParOf" srcId="{E1B2F079-112D-47E8-B6FF-430146172755}" destId="{BE30A738-DCC6-44D0-ACB6-9FB2179C1AC9}" srcOrd="12" destOrd="0" presId="urn:microsoft.com/office/officeart/2005/8/layout/radial6"/>
    <dgm:cxn modelId="{9DF06276-EA98-4A06-A9FE-6264F36E8011}" type="presParOf" srcId="{E1B2F079-112D-47E8-B6FF-430146172755}" destId="{BFE20957-F04D-42D4-81DD-A84994B15780}" srcOrd="13" destOrd="0" presId="urn:microsoft.com/office/officeart/2005/8/layout/radial6"/>
    <dgm:cxn modelId="{BB1DE80F-C312-42C6-852E-CF426CA5EFA9}" type="presParOf" srcId="{E1B2F079-112D-47E8-B6FF-430146172755}" destId="{B034A42C-4BF1-4B65-8E14-AEC6755EAFFC}" srcOrd="14" destOrd="0" presId="urn:microsoft.com/office/officeart/2005/8/layout/radial6"/>
    <dgm:cxn modelId="{D0B299BC-A62C-4FF1-9FA5-33939F51C313}" type="presParOf" srcId="{E1B2F079-112D-47E8-B6FF-430146172755}" destId="{E34B2A0F-FD5F-4382-9FB0-C55FBAAC8324}" srcOrd="15" destOrd="0" presId="urn:microsoft.com/office/officeart/2005/8/layout/radial6"/>
    <dgm:cxn modelId="{02D43CFF-579F-4176-9AC6-3F2245DD7EE3}" type="presParOf" srcId="{E1B2F079-112D-47E8-B6FF-430146172755}" destId="{F273F32D-9636-4F23-85A2-0803CC6C2041}" srcOrd="16" destOrd="0" presId="urn:microsoft.com/office/officeart/2005/8/layout/radial6"/>
    <dgm:cxn modelId="{F6374ECF-30BE-4A95-AA40-07DBC2512E90}" type="presParOf" srcId="{E1B2F079-112D-47E8-B6FF-430146172755}" destId="{A59B4EEF-2F99-42FF-90C1-1C3B88838143}" srcOrd="17" destOrd="0" presId="urn:microsoft.com/office/officeart/2005/8/layout/radial6"/>
    <dgm:cxn modelId="{31216D3A-C312-49C9-B4A9-F1D2CBF8763E}" type="presParOf" srcId="{E1B2F079-112D-47E8-B6FF-430146172755}" destId="{6BEC7B0A-935D-4C9A-A5A1-217F7F99F07B}" srcOrd="18" destOrd="0" presId="urn:microsoft.com/office/officeart/2005/8/layout/radial6"/>
    <dgm:cxn modelId="{73695EEB-03B1-4605-93D5-49E1ED6A23F8}" type="presParOf" srcId="{E1B2F079-112D-47E8-B6FF-430146172755}" destId="{24BA5B73-C818-4465-8E4D-DC2F7CA9C5CF}" srcOrd="19" destOrd="0" presId="urn:microsoft.com/office/officeart/2005/8/layout/radial6"/>
    <dgm:cxn modelId="{2FF77A56-9D4E-4E97-B523-EA60BAD47D1A}" type="presParOf" srcId="{E1B2F079-112D-47E8-B6FF-430146172755}" destId="{39F458DF-B033-47F5-ADCC-469FEE078FFE}" srcOrd="20" destOrd="0" presId="urn:microsoft.com/office/officeart/2005/8/layout/radial6"/>
    <dgm:cxn modelId="{485117F9-3A77-4BD5-B300-1863155DAAA5}" type="presParOf" srcId="{E1B2F079-112D-47E8-B6FF-430146172755}" destId="{C18293F2-97DB-4495-A5FB-42F257F5F95A}" srcOrd="21" destOrd="0" presId="urn:microsoft.com/office/officeart/2005/8/layout/radial6"/>
    <dgm:cxn modelId="{B44E2C81-3DF4-4832-B5F5-96496FF990A2}" type="presParOf" srcId="{E1B2F079-112D-47E8-B6FF-430146172755}" destId="{7EA5E49F-F0E8-4D32-89D0-253FDB7A1622}" srcOrd="22" destOrd="0" presId="urn:microsoft.com/office/officeart/2005/8/layout/radial6"/>
    <dgm:cxn modelId="{CF299B4C-D813-419C-A6DE-69471BF23CF3}" type="presParOf" srcId="{E1B2F079-112D-47E8-B6FF-430146172755}" destId="{525D249C-EF12-4207-A648-C8EBCC11DAC5}" srcOrd="23" destOrd="0" presId="urn:microsoft.com/office/officeart/2005/8/layout/radial6"/>
    <dgm:cxn modelId="{61F04FF5-2CCE-4012-83BD-91E04C53C867}" type="presParOf" srcId="{E1B2F079-112D-47E8-B6FF-430146172755}" destId="{9F17267C-24AC-42E3-891E-4360596BF506}" srcOrd="24" destOrd="0" presId="urn:microsoft.com/office/officeart/2005/8/layout/radial6"/>
    <dgm:cxn modelId="{E1B00593-A8DA-46D5-9B01-16BE1CD6C37A}" type="presParOf" srcId="{E1B2F079-112D-47E8-B6FF-430146172755}" destId="{138C749A-E0CF-419C-B94B-265FF8FCD1BF}" srcOrd="25" destOrd="0" presId="urn:microsoft.com/office/officeart/2005/8/layout/radial6"/>
    <dgm:cxn modelId="{DCF0D000-EB6B-456C-AB5B-64BF5B6E6384}" type="presParOf" srcId="{E1B2F079-112D-47E8-B6FF-430146172755}" destId="{E4F8FF3E-D059-4FB6-9335-824DE6BF6134}" srcOrd="26" destOrd="0" presId="urn:microsoft.com/office/officeart/2005/8/layout/radial6"/>
    <dgm:cxn modelId="{8DC5768B-EFD0-452D-91A1-5BB1854CE921}" type="presParOf" srcId="{E1B2F079-112D-47E8-B6FF-430146172755}" destId="{FBFEAC29-DDE8-4EEC-B5EB-A431E42E5FDE}" srcOrd="27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DE953B-E35F-40EA-852D-BBD3A7D00154}">
      <dsp:nvSpPr>
        <dsp:cNvPr id="0" name=""/>
        <dsp:cNvSpPr/>
      </dsp:nvSpPr>
      <dsp:spPr>
        <a:xfrm>
          <a:off x="15420" y="315801"/>
          <a:ext cx="3332916" cy="896282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088" tIns="236088" rIns="236088" bIns="236088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CO2e Reduction</a:t>
          </a:r>
        </a:p>
      </dsp:txBody>
      <dsp:txXfrm>
        <a:off x="15420" y="315801"/>
        <a:ext cx="3332916" cy="896282"/>
      </dsp:txXfrm>
    </dsp:sp>
    <dsp:sp modelId="{86ABB396-64D1-4CA2-A4E6-AE247770F8DD}">
      <dsp:nvSpPr>
        <dsp:cNvPr id="0" name=""/>
        <dsp:cNvSpPr/>
      </dsp:nvSpPr>
      <dsp:spPr>
        <a:xfrm>
          <a:off x="34690" y="1207609"/>
          <a:ext cx="3341521" cy="208127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5109" tIns="295109" rIns="295109" bIns="295109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800" b="1" kern="1200" dirty="0">
              <a:solidFill>
                <a:srgbClr val="002060"/>
              </a:solidFill>
            </a:rPr>
            <a:t>Minimize CO2e by Optimized FTL  Load 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800" b="1" kern="1200" dirty="0">
              <a:solidFill>
                <a:srgbClr val="002060"/>
              </a:solidFill>
            </a:rPr>
            <a:t>Replaced Air Route with Rail Ocean ones at Order/Scheduling Time</a:t>
          </a:r>
        </a:p>
      </dsp:txBody>
      <dsp:txXfrm>
        <a:off x="34690" y="1207609"/>
        <a:ext cx="3341521" cy="2081270"/>
      </dsp:txXfrm>
    </dsp:sp>
    <dsp:sp modelId="{3C601735-07BE-42D6-B9BB-080BAE831BDB}">
      <dsp:nvSpPr>
        <dsp:cNvPr id="0" name=""/>
        <dsp:cNvSpPr/>
      </dsp:nvSpPr>
      <dsp:spPr>
        <a:xfrm>
          <a:off x="3460534" y="315801"/>
          <a:ext cx="2987609" cy="896282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088" tIns="236088" rIns="236088" bIns="236088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Air &amp; Ground</a:t>
          </a:r>
        </a:p>
      </dsp:txBody>
      <dsp:txXfrm>
        <a:off x="3460534" y="315801"/>
        <a:ext cx="2987609" cy="896282"/>
      </dsp:txXfrm>
    </dsp:sp>
    <dsp:sp modelId="{3DBF377C-47DE-4115-9283-E5E4A014AE5C}">
      <dsp:nvSpPr>
        <dsp:cNvPr id="0" name=""/>
        <dsp:cNvSpPr/>
      </dsp:nvSpPr>
      <dsp:spPr>
        <a:xfrm>
          <a:off x="3460534" y="1212083"/>
          <a:ext cx="2987609" cy="208127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5109" tIns="295109" rIns="295109" bIns="295109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2060"/>
              </a:solidFill>
            </a:rPr>
            <a:t>Air &amp; Ground trip consolidation opportunity alert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2060"/>
              </a:solidFill>
            </a:rPr>
            <a:t>CO2 Green Carrier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b="1" kern="1200" dirty="0">
            <a:solidFill>
              <a:srgbClr val="002060"/>
            </a:solidFill>
          </a:endParaRPr>
        </a:p>
      </dsp:txBody>
      <dsp:txXfrm>
        <a:off x="3460534" y="1212083"/>
        <a:ext cx="2987609" cy="2081270"/>
      </dsp:txXfrm>
    </dsp:sp>
    <dsp:sp modelId="{2CF73820-7DAC-47C6-A933-64A788A2C424}">
      <dsp:nvSpPr>
        <dsp:cNvPr id="0" name=""/>
        <dsp:cNvSpPr/>
      </dsp:nvSpPr>
      <dsp:spPr>
        <a:xfrm>
          <a:off x="6556037" y="315801"/>
          <a:ext cx="2987609" cy="896282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088" tIns="236088" rIns="236088" bIns="236088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Air</a:t>
          </a:r>
        </a:p>
      </dsp:txBody>
      <dsp:txXfrm>
        <a:off x="6556037" y="315801"/>
        <a:ext cx="2987609" cy="896282"/>
      </dsp:txXfrm>
    </dsp:sp>
    <dsp:sp modelId="{495ED83B-BF85-485B-90E3-A2152D0DF550}">
      <dsp:nvSpPr>
        <dsp:cNvPr id="0" name=""/>
        <dsp:cNvSpPr/>
      </dsp:nvSpPr>
      <dsp:spPr>
        <a:xfrm>
          <a:off x="6556037" y="1212083"/>
          <a:ext cx="2987609" cy="208127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5109" tIns="295109" rIns="295109" bIns="295109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2060"/>
              </a:solidFill>
            </a:rPr>
            <a:t>Air route with minimum stop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2060"/>
              </a:solidFill>
            </a:rPr>
            <a:t>Top CO2 friendly airlines</a:t>
          </a:r>
          <a:r>
            <a:rPr lang="en-US" sz="1600" b="1" kern="1200" dirty="0">
              <a:solidFill>
                <a:srgbClr val="002060"/>
              </a:solidFill>
            </a:rPr>
            <a:t> </a:t>
          </a:r>
        </a:p>
      </dsp:txBody>
      <dsp:txXfrm>
        <a:off x="6556037" y="1212083"/>
        <a:ext cx="2987609" cy="20812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FEAC29-DDE8-4EEC-B5EB-A431E42E5FDE}">
      <dsp:nvSpPr>
        <dsp:cNvPr id="0" name=""/>
        <dsp:cNvSpPr/>
      </dsp:nvSpPr>
      <dsp:spPr>
        <a:xfrm>
          <a:off x="2314096" y="540636"/>
          <a:ext cx="5467693" cy="5467693"/>
        </a:xfrm>
        <a:prstGeom prst="blockArc">
          <a:avLst>
            <a:gd name="adj1" fmla="val 13800000"/>
            <a:gd name="adj2" fmla="val 16200000"/>
            <a:gd name="adj3" fmla="val 3063"/>
          </a:avLst>
        </a:prstGeom>
        <a:solidFill>
          <a:schemeClr val="accent5">
            <a:lumMod val="20000"/>
            <a:lumOff val="80000"/>
          </a:schemeClr>
        </a:solidFill>
        <a:ln>
          <a:solidFill>
            <a:schemeClr val="accent5">
              <a:lumMod val="20000"/>
              <a:lumOff val="80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17267C-24AC-42E3-891E-4360596BF506}">
      <dsp:nvSpPr>
        <dsp:cNvPr id="0" name=""/>
        <dsp:cNvSpPr/>
      </dsp:nvSpPr>
      <dsp:spPr>
        <a:xfrm>
          <a:off x="2314096" y="540636"/>
          <a:ext cx="5467693" cy="5467693"/>
        </a:xfrm>
        <a:prstGeom prst="blockArc">
          <a:avLst>
            <a:gd name="adj1" fmla="val 11400000"/>
            <a:gd name="adj2" fmla="val 13800000"/>
            <a:gd name="adj3" fmla="val 3063"/>
          </a:avLst>
        </a:prstGeom>
        <a:solidFill>
          <a:schemeClr val="accent5">
            <a:lumMod val="20000"/>
            <a:lumOff val="80000"/>
          </a:schemeClr>
        </a:solidFill>
        <a:ln>
          <a:solidFill>
            <a:schemeClr val="accent5">
              <a:lumMod val="20000"/>
              <a:lumOff val="80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293F2-97DB-4495-A5FB-42F257F5F95A}">
      <dsp:nvSpPr>
        <dsp:cNvPr id="0" name=""/>
        <dsp:cNvSpPr/>
      </dsp:nvSpPr>
      <dsp:spPr>
        <a:xfrm>
          <a:off x="2314096" y="540636"/>
          <a:ext cx="5467693" cy="5467693"/>
        </a:xfrm>
        <a:prstGeom prst="blockArc">
          <a:avLst>
            <a:gd name="adj1" fmla="val 9000000"/>
            <a:gd name="adj2" fmla="val 11400000"/>
            <a:gd name="adj3" fmla="val 3063"/>
          </a:avLst>
        </a:prstGeom>
        <a:solidFill>
          <a:schemeClr val="accent4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EC7B0A-935D-4C9A-A5A1-217F7F99F07B}">
      <dsp:nvSpPr>
        <dsp:cNvPr id="0" name=""/>
        <dsp:cNvSpPr/>
      </dsp:nvSpPr>
      <dsp:spPr>
        <a:xfrm>
          <a:off x="2314096" y="540636"/>
          <a:ext cx="5467693" cy="5467693"/>
        </a:xfrm>
        <a:prstGeom prst="blockArc">
          <a:avLst>
            <a:gd name="adj1" fmla="val 6600000"/>
            <a:gd name="adj2" fmla="val 9000000"/>
            <a:gd name="adj3" fmla="val 3063"/>
          </a:avLst>
        </a:prstGeom>
        <a:solidFill>
          <a:schemeClr val="accent5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4B2A0F-FD5F-4382-9FB0-C55FBAAC8324}">
      <dsp:nvSpPr>
        <dsp:cNvPr id="0" name=""/>
        <dsp:cNvSpPr/>
      </dsp:nvSpPr>
      <dsp:spPr>
        <a:xfrm>
          <a:off x="2314096" y="540636"/>
          <a:ext cx="5467693" cy="5467693"/>
        </a:xfrm>
        <a:prstGeom prst="blockArc">
          <a:avLst>
            <a:gd name="adj1" fmla="val 4200000"/>
            <a:gd name="adj2" fmla="val 6600000"/>
            <a:gd name="adj3" fmla="val 3063"/>
          </a:avLst>
        </a:prstGeom>
        <a:solidFill>
          <a:schemeClr val="accent4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30A738-DCC6-44D0-ACB6-9FB2179C1AC9}">
      <dsp:nvSpPr>
        <dsp:cNvPr id="0" name=""/>
        <dsp:cNvSpPr/>
      </dsp:nvSpPr>
      <dsp:spPr>
        <a:xfrm>
          <a:off x="2314096" y="540636"/>
          <a:ext cx="5467693" cy="5467693"/>
        </a:xfrm>
        <a:prstGeom prst="blockArc">
          <a:avLst>
            <a:gd name="adj1" fmla="val 1800000"/>
            <a:gd name="adj2" fmla="val 4200000"/>
            <a:gd name="adj3" fmla="val 3063"/>
          </a:avLst>
        </a:prstGeom>
        <a:solidFill>
          <a:schemeClr val="accent4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882A11-7510-4203-B7D3-30BB3A765787}">
      <dsp:nvSpPr>
        <dsp:cNvPr id="0" name=""/>
        <dsp:cNvSpPr/>
      </dsp:nvSpPr>
      <dsp:spPr>
        <a:xfrm>
          <a:off x="2314096" y="540636"/>
          <a:ext cx="5467693" cy="5467693"/>
        </a:xfrm>
        <a:prstGeom prst="blockArc">
          <a:avLst>
            <a:gd name="adj1" fmla="val 21000000"/>
            <a:gd name="adj2" fmla="val 1800000"/>
            <a:gd name="adj3" fmla="val 3063"/>
          </a:avLst>
        </a:prstGeom>
        <a:solidFill>
          <a:schemeClr val="accent4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BC316D-E849-4244-BE55-FEBC0AFBB287}">
      <dsp:nvSpPr>
        <dsp:cNvPr id="0" name=""/>
        <dsp:cNvSpPr/>
      </dsp:nvSpPr>
      <dsp:spPr>
        <a:xfrm>
          <a:off x="2314096" y="540636"/>
          <a:ext cx="5467693" cy="5467693"/>
        </a:xfrm>
        <a:prstGeom prst="blockArc">
          <a:avLst>
            <a:gd name="adj1" fmla="val 18600000"/>
            <a:gd name="adj2" fmla="val 21000000"/>
            <a:gd name="adj3" fmla="val 3063"/>
          </a:avLst>
        </a:prstGeom>
        <a:solidFill>
          <a:schemeClr val="accent5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0C1800-280B-4A7E-9917-CE22A8C6A553}">
      <dsp:nvSpPr>
        <dsp:cNvPr id="0" name=""/>
        <dsp:cNvSpPr/>
      </dsp:nvSpPr>
      <dsp:spPr>
        <a:xfrm>
          <a:off x="2314096" y="540636"/>
          <a:ext cx="5467693" cy="5467693"/>
        </a:xfrm>
        <a:prstGeom prst="blockArc">
          <a:avLst>
            <a:gd name="adj1" fmla="val 16200000"/>
            <a:gd name="adj2" fmla="val 18600000"/>
            <a:gd name="adj3" fmla="val 3063"/>
          </a:avLst>
        </a:prstGeom>
        <a:solidFill>
          <a:schemeClr val="accent4">
            <a:lumMod val="20000"/>
            <a:lumOff val="80000"/>
          </a:schemeClr>
        </a:solidFill>
        <a:ln>
          <a:solidFill>
            <a:schemeClr val="accent4">
              <a:lumMod val="20000"/>
              <a:lumOff val="80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0C452C-3CE8-45AC-8C28-3ECBD0D882D3}">
      <dsp:nvSpPr>
        <dsp:cNvPr id="0" name=""/>
        <dsp:cNvSpPr/>
      </dsp:nvSpPr>
      <dsp:spPr>
        <a:xfrm>
          <a:off x="4217300" y="2446155"/>
          <a:ext cx="1661285" cy="1661285"/>
        </a:xfrm>
        <a:prstGeom prst="ellipse">
          <a:avLst/>
        </a:prstGeom>
        <a:solidFill>
          <a:schemeClr val="accent5">
            <a:lumMod val="20000"/>
            <a:lumOff val="80000"/>
          </a:schemeClr>
        </a:solidFill>
        <a:ln w="762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b="1" kern="1200" dirty="0">
            <a:solidFill>
              <a:srgbClr val="002060"/>
            </a:solidFill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b="1" kern="1200" dirty="0">
            <a:solidFill>
              <a:srgbClr val="002060"/>
            </a:solidFill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002060"/>
              </a:solidFill>
            </a:rPr>
            <a:t>Supply Chain</a:t>
          </a:r>
        </a:p>
      </dsp:txBody>
      <dsp:txXfrm>
        <a:off x="4460590" y="2689445"/>
        <a:ext cx="1174705" cy="1174705"/>
      </dsp:txXfrm>
    </dsp:sp>
    <dsp:sp modelId="{167601D3-BEEA-42FC-9C74-FC1F763D5ADD}">
      <dsp:nvSpPr>
        <dsp:cNvPr id="0" name=""/>
        <dsp:cNvSpPr/>
      </dsp:nvSpPr>
      <dsp:spPr>
        <a:xfrm>
          <a:off x="4466492" y="1050"/>
          <a:ext cx="1162900" cy="1162900"/>
        </a:xfrm>
        <a:prstGeom prst="ellipse">
          <a:avLst/>
        </a:prstGeom>
        <a:solidFill>
          <a:schemeClr val="accent5">
            <a:lumMod val="20000"/>
            <a:lumOff val="80000"/>
          </a:schemeClr>
        </a:solidFill>
        <a:ln w="5715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002060"/>
              </a:solidFill>
            </a:rPr>
            <a:t>Order Risk Forecast</a:t>
          </a:r>
        </a:p>
      </dsp:txBody>
      <dsp:txXfrm>
        <a:off x="4636795" y="171353"/>
        <a:ext cx="822294" cy="822294"/>
      </dsp:txXfrm>
    </dsp:sp>
    <dsp:sp modelId="{75A5C22E-A34F-4C43-AA36-B721EB5ACC87}">
      <dsp:nvSpPr>
        <dsp:cNvPr id="0" name=""/>
        <dsp:cNvSpPr/>
      </dsp:nvSpPr>
      <dsp:spPr>
        <a:xfrm>
          <a:off x="6196865" y="630854"/>
          <a:ext cx="1162900" cy="1162900"/>
        </a:xfrm>
        <a:prstGeom prst="ellipse">
          <a:avLst/>
        </a:prstGeom>
        <a:solidFill>
          <a:schemeClr val="accent5">
            <a:lumMod val="20000"/>
            <a:lumOff val="80000"/>
          </a:schemeClr>
        </a:solidFill>
        <a:ln w="5715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6">
                  <a:lumMod val="25000"/>
                </a:schemeClr>
              </a:solidFill>
            </a:rPr>
            <a:t>Freight Movement </a:t>
          </a:r>
          <a:r>
            <a:rPr lang="en-US" sz="900" b="1" kern="1200" dirty="0">
              <a:solidFill>
                <a:schemeClr val="accent6">
                  <a:lumMod val="25000"/>
                </a:schemeClr>
              </a:solidFill>
            </a:rPr>
            <a:t>Consolidation</a:t>
          </a:r>
        </a:p>
      </dsp:txBody>
      <dsp:txXfrm>
        <a:off x="6367168" y="801157"/>
        <a:ext cx="822294" cy="822294"/>
      </dsp:txXfrm>
    </dsp:sp>
    <dsp:sp modelId="{7A78DB30-EB00-4E57-8DF6-8E20523E6EA0}">
      <dsp:nvSpPr>
        <dsp:cNvPr id="0" name=""/>
        <dsp:cNvSpPr/>
      </dsp:nvSpPr>
      <dsp:spPr>
        <a:xfrm>
          <a:off x="7117578" y="2225575"/>
          <a:ext cx="1162900" cy="1162900"/>
        </a:xfrm>
        <a:prstGeom prst="ellipse">
          <a:avLst/>
        </a:prstGeom>
        <a:solidFill>
          <a:srgbClr val="C9EFCB"/>
        </a:solidFill>
        <a:ln w="57150" cap="flat" cmpd="sng" algn="ctr">
          <a:solidFill>
            <a:srgbClr val="07693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07693D"/>
              </a:solidFill>
            </a:rPr>
            <a:t>Green Freight CO2 </a:t>
          </a:r>
          <a:r>
            <a:rPr lang="en-US" sz="1200" b="1" kern="1200" dirty="0">
              <a:solidFill>
                <a:srgbClr val="07693D"/>
              </a:solidFill>
            </a:rPr>
            <a:t>Emission</a:t>
          </a:r>
        </a:p>
      </dsp:txBody>
      <dsp:txXfrm>
        <a:off x="7287881" y="2395878"/>
        <a:ext cx="822294" cy="822294"/>
      </dsp:txXfrm>
    </dsp:sp>
    <dsp:sp modelId="{CF09396A-AC70-462F-B604-FE890AFA5132}">
      <dsp:nvSpPr>
        <dsp:cNvPr id="0" name=""/>
        <dsp:cNvSpPr/>
      </dsp:nvSpPr>
      <dsp:spPr>
        <a:xfrm>
          <a:off x="6797818" y="4039024"/>
          <a:ext cx="1162900" cy="1162900"/>
        </a:xfrm>
        <a:prstGeom prst="ellipse">
          <a:avLst/>
        </a:prstGeom>
        <a:solidFill>
          <a:schemeClr val="accent5">
            <a:lumMod val="20000"/>
            <a:lumOff val="80000"/>
          </a:schemeClr>
        </a:solidFill>
        <a:ln w="5715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6">
                  <a:lumMod val="25000"/>
                </a:schemeClr>
              </a:solidFill>
            </a:rPr>
            <a:t>Carrier Advisor</a:t>
          </a:r>
        </a:p>
      </dsp:txBody>
      <dsp:txXfrm>
        <a:off x="6968121" y="4209327"/>
        <a:ext cx="822294" cy="822294"/>
      </dsp:txXfrm>
    </dsp:sp>
    <dsp:sp modelId="{BFE20957-F04D-42D4-81DD-A84994B15780}">
      <dsp:nvSpPr>
        <dsp:cNvPr id="0" name=""/>
        <dsp:cNvSpPr/>
      </dsp:nvSpPr>
      <dsp:spPr>
        <a:xfrm>
          <a:off x="5387205" y="5222669"/>
          <a:ext cx="1162900" cy="1162900"/>
        </a:xfrm>
        <a:prstGeom prst="ellipse">
          <a:avLst/>
        </a:prstGeom>
        <a:solidFill>
          <a:schemeClr val="accent5">
            <a:lumMod val="20000"/>
            <a:lumOff val="80000"/>
          </a:schemeClr>
        </a:solidFill>
        <a:ln w="5715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002060"/>
              </a:solidFill>
            </a:rPr>
            <a:t>Hub </a:t>
          </a:r>
          <a:r>
            <a:rPr lang="en-US" sz="1000" b="1" kern="1200" dirty="0">
              <a:solidFill>
                <a:srgbClr val="002060"/>
              </a:solidFill>
            </a:rPr>
            <a:t>Optimization</a:t>
          </a:r>
        </a:p>
      </dsp:txBody>
      <dsp:txXfrm>
        <a:off x="5557508" y="5392972"/>
        <a:ext cx="822294" cy="822294"/>
      </dsp:txXfrm>
    </dsp:sp>
    <dsp:sp modelId="{F273F32D-9636-4F23-85A2-0803CC6C2041}">
      <dsp:nvSpPr>
        <dsp:cNvPr id="0" name=""/>
        <dsp:cNvSpPr/>
      </dsp:nvSpPr>
      <dsp:spPr>
        <a:xfrm>
          <a:off x="3545780" y="5222669"/>
          <a:ext cx="1162900" cy="1162900"/>
        </a:xfrm>
        <a:prstGeom prst="ellipse">
          <a:avLst/>
        </a:prstGeom>
        <a:solidFill>
          <a:schemeClr val="accent5">
            <a:lumMod val="20000"/>
            <a:lumOff val="80000"/>
          </a:schemeClr>
        </a:solidFill>
        <a:ln w="5715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002060"/>
              </a:solidFill>
            </a:rPr>
            <a:t>Freight</a:t>
          </a:r>
          <a:r>
            <a:rPr lang="en-US" sz="1200" b="1" kern="1200" dirty="0">
              <a:solidFill>
                <a:srgbClr val="002060"/>
              </a:solidFill>
            </a:rPr>
            <a:t> Cost Index</a:t>
          </a:r>
        </a:p>
      </dsp:txBody>
      <dsp:txXfrm>
        <a:off x="3716083" y="5392972"/>
        <a:ext cx="822294" cy="822294"/>
      </dsp:txXfrm>
    </dsp:sp>
    <dsp:sp modelId="{24BA5B73-C818-4465-8E4D-DC2F7CA9C5CF}">
      <dsp:nvSpPr>
        <dsp:cNvPr id="0" name=""/>
        <dsp:cNvSpPr/>
      </dsp:nvSpPr>
      <dsp:spPr>
        <a:xfrm>
          <a:off x="2135167" y="4039024"/>
          <a:ext cx="1162900" cy="1162900"/>
        </a:xfrm>
        <a:prstGeom prst="ellipse">
          <a:avLst/>
        </a:prstGeom>
        <a:solidFill>
          <a:schemeClr val="accent5">
            <a:lumMod val="20000"/>
            <a:lumOff val="80000"/>
          </a:schemeClr>
        </a:solidFill>
        <a:ln w="5715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002060"/>
              </a:solidFill>
            </a:rPr>
            <a:t>Load Forecast </a:t>
          </a:r>
          <a:r>
            <a:rPr lang="en-US" sz="1200" b="1" kern="1200" dirty="0">
              <a:solidFill>
                <a:srgbClr val="002060"/>
              </a:solidFill>
            </a:rPr>
            <a:t>On Route</a:t>
          </a:r>
        </a:p>
      </dsp:txBody>
      <dsp:txXfrm>
        <a:off x="2305470" y="4209327"/>
        <a:ext cx="822294" cy="822294"/>
      </dsp:txXfrm>
    </dsp:sp>
    <dsp:sp modelId="{7EA5E49F-F0E8-4D32-89D0-253FDB7A1622}">
      <dsp:nvSpPr>
        <dsp:cNvPr id="0" name=""/>
        <dsp:cNvSpPr/>
      </dsp:nvSpPr>
      <dsp:spPr>
        <a:xfrm>
          <a:off x="1815407" y="2225575"/>
          <a:ext cx="1162900" cy="1162900"/>
        </a:xfrm>
        <a:prstGeom prst="ellipse">
          <a:avLst/>
        </a:prstGeom>
        <a:solidFill>
          <a:schemeClr val="accent5">
            <a:lumMod val="20000"/>
            <a:lumOff val="80000"/>
          </a:schemeClr>
        </a:solidFill>
        <a:ln w="5715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rgbClr val="002060"/>
              </a:solidFill>
            </a:rPr>
            <a:t>Milestone </a:t>
          </a:r>
          <a:r>
            <a:rPr lang="en-US" sz="1000" b="1" kern="1200" dirty="0">
              <a:solidFill>
                <a:srgbClr val="002060"/>
              </a:solidFill>
            </a:rPr>
            <a:t>Intelligence</a:t>
          </a:r>
        </a:p>
      </dsp:txBody>
      <dsp:txXfrm>
        <a:off x="1985710" y="2395878"/>
        <a:ext cx="822294" cy="822294"/>
      </dsp:txXfrm>
    </dsp:sp>
    <dsp:sp modelId="{138C749A-E0CF-419C-B94B-265FF8FCD1BF}">
      <dsp:nvSpPr>
        <dsp:cNvPr id="0" name=""/>
        <dsp:cNvSpPr/>
      </dsp:nvSpPr>
      <dsp:spPr>
        <a:xfrm>
          <a:off x="2736119" y="630854"/>
          <a:ext cx="1162900" cy="1162900"/>
        </a:xfrm>
        <a:prstGeom prst="ellipse">
          <a:avLst/>
        </a:prstGeom>
        <a:solidFill>
          <a:schemeClr val="accent5">
            <a:lumMod val="20000"/>
            <a:lumOff val="80000"/>
          </a:schemeClr>
        </a:solidFill>
        <a:ln w="5715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rgbClr val="002060"/>
              </a:solidFill>
            </a:rPr>
            <a:t>Route </a:t>
          </a:r>
          <a:r>
            <a:rPr lang="en-US" sz="1000" b="1" kern="1200" dirty="0">
              <a:solidFill>
                <a:srgbClr val="002060"/>
              </a:solidFill>
            </a:rPr>
            <a:t>Optimization</a:t>
          </a:r>
        </a:p>
      </dsp:txBody>
      <dsp:txXfrm>
        <a:off x="2906422" y="801157"/>
        <a:ext cx="822294" cy="8222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HorizontalActionList">
  <dgm:title val="Horizontal Action List"/>
  <dgm:desc val="Used to show non-sequential or grouped lists of information. Works well with large amounts of text. All text has the same level of emphasis, and direction is not implied."/>
  <dgm:catLst>
    <dgm:cat type="list" pri="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 fact="0.6"/>
      <dgm:constr type="h" for="des" forName="composite" op="equ"/>
      <dgm:constr type="w" for="ch" forName="composite" refType="w"/>
      <dgm:constr type="w" for="des" forName="parTx"/>
      <dgm:constr type="h" for="des" forName="parTx" op="equ"/>
      <dgm:constr type="w" for="des" forName="desTx"/>
      <dgm:constr type="primFontSz" for="des" forName="parTx" val="54"/>
      <dgm:constr type="primFontSz" for="des" forName="desTx" refType="primFontSz" refFor="des" refForName="parTx" op="lte" fact="0.75"/>
      <dgm:constr type="h" for="des" forName="desTx" op="equ"/>
      <dgm:constr type="w" for="ch" forName="space" op="equ" val="3"/>
    </dgm:constrLst>
    <dgm:ruleLst>
      <dgm:rule type="w" for="ch" forName="composite" val="0" fact="NaN" max="NaN"/>
    </dgm:ruleLst>
    <dgm:forEach name="Name6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3"/>
            <dgm:constr type="h"/>
            <dgm:constr type="tMarg" refType="w" fact="0.224"/>
            <dgm:constr type="bMarg" refType="w" fact="0.224"/>
            <dgm:constr type="lMarg" refType="w" fact="0.224"/>
            <dgm:constr type="rMarg" refType="w" fact="0.224"/>
          </dgm:constrLst>
          <dgm:ruleLst>
            <dgm:rule type="h" val="INF" fact="NaN" max="NaN"/>
            <dgm:rule type="primFontSz" val="14" fact="NaN" max="NaN"/>
          </dgm:ruleLst>
        </dgm:layoutNode>
        <dgm:layoutNode name="desTx" styleLbl="alignAccFollowNode1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primFontSz" val="28"/>
            <dgm:constr type="tMarg" refType="w" fact="0.28"/>
            <dgm:constr type="bMarg" refType="w" fact="0.28"/>
            <dgm:constr type="lMarg" refType="w" fact="0.28"/>
            <dgm:constr type="rMarg" refType="w" fact="0.28"/>
          </dgm:constrLst>
          <dgm:ruleLst>
            <dgm:rule type="h" val="INF" fact="NaN" max="NaN"/>
            <dgm:rule type="primFontSz" val="11" fact="NaN" max="NaN"/>
          </dgm:ruleLst>
        </dgm:layoutNode>
      </dgm:layoutNode>
      <dgm:forEach name="Name19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691A08E4-1311-4359-B0A9-6839365D7D7C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5CC34664-5F55-44E3-80F2-FEF4F7BC65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212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8122ADE7-D3FD-4A99-96AE-FA71DD76D3D6}" type="datetimeFigureOut">
              <a:rPr lang="fr-FR" smtClean="0"/>
              <a:t>19/07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2FB1B064-FA52-4689-8E27-4A57E8DCD8B3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0351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i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1B064-FA52-4689-8E27-4A57E8DCD8B3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0787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1B064-FA52-4689-8E27-4A57E8DCD8B3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20991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338092D-F043-4BAD-A86A-EAADCE5BD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5642" y="3300290"/>
            <a:ext cx="8357490" cy="25467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400" cap="all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sz="3400" cap="all" baseline="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051039"/>
                </a:solidFill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b="1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FB76928F-1136-4A9F-903A-3CEDC7DF4D84}"/>
              </a:ext>
            </a:extLst>
          </p:cNvPr>
          <p:cNvCxnSpPr/>
          <p:nvPr userDrawn="1"/>
        </p:nvCxnSpPr>
        <p:spPr>
          <a:xfrm>
            <a:off x="-1" y="2237930"/>
            <a:ext cx="12192001" cy="0"/>
          </a:xfrm>
          <a:prstGeom prst="line">
            <a:avLst/>
          </a:prstGeom>
          <a:ln w="19050">
            <a:solidFill>
              <a:srgbClr val="E524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633DCCE9-20D0-4C86-9B18-249B2A65FB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3072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1" name="Espace réservé pour une image  18">
            <a:extLst>
              <a:ext uri="{FF2B5EF4-FFF2-40B4-BE49-F238E27FC236}">
                <a16:creationId xmlns:a16="http://schemas.microsoft.com/office/drawing/2014/main" id="{CD0BE052-3C4C-41A0-8BAF-AB33F0DFE8B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07707" y="850577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2" name="Espace réservé pour une image  18">
            <a:extLst>
              <a:ext uri="{FF2B5EF4-FFF2-40B4-BE49-F238E27FC236}">
                <a16:creationId xmlns:a16="http://schemas.microsoft.com/office/drawing/2014/main" id="{F2CEE392-80A5-49A0-B621-DDCCA55472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6162" y="850578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3" name="Espace réservé pour une image  18">
            <a:extLst>
              <a:ext uri="{FF2B5EF4-FFF2-40B4-BE49-F238E27FC236}">
                <a16:creationId xmlns:a16="http://schemas.microsoft.com/office/drawing/2014/main" id="{38B007EF-0E9D-4BFB-A21E-D9663D9CD4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64617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Triangle rectangle 9">
            <a:extLst>
              <a:ext uri="{FF2B5EF4-FFF2-40B4-BE49-F238E27FC236}">
                <a16:creationId xmlns:a16="http://schemas.microsoft.com/office/drawing/2014/main" id="{0601DE8D-958C-4FEA-B5F4-0158C867A857}"/>
              </a:ext>
            </a:extLst>
          </p:cNvPr>
          <p:cNvSpPr/>
          <p:nvPr userDrawn="1"/>
        </p:nvSpPr>
        <p:spPr>
          <a:xfrm>
            <a:off x="-1" y="3300290"/>
            <a:ext cx="866838" cy="3589245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25" name="Group 24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30" name="Rectangle 29"/>
              <p:cNvSpPr/>
              <p:nvPr userDrawn="1"/>
            </p:nvSpPr>
            <p:spPr bwMode="auto">
              <a:xfrm>
                <a:off x="-2734593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 bwMode="auto">
              <a:xfrm>
                <a:off x="12216205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6" name="Line 9"/>
            <p:cNvSpPr>
              <a:spLocks noChangeShapeType="1"/>
            </p:cNvSpPr>
            <p:nvPr userDrawn="1"/>
          </p:nvSpPr>
          <p:spPr bwMode="auto">
            <a:xfrm flipH="1">
              <a:off x="12234177" y="5823620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7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28" name="Line 9"/>
            <p:cNvSpPr>
              <a:spLocks noChangeShapeType="1"/>
            </p:cNvSpPr>
            <p:nvPr userDrawn="1"/>
          </p:nvSpPr>
          <p:spPr bwMode="auto">
            <a:xfrm>
              <a:off x="-2221716" y="5830005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grpSp>
        <p:nvGrpSpPr>
          <p:cNvPr id="6" name="Group 5"/>
          <p:cNvGrpSpPr/>
          <p:nvPr userDrawn="1"/>
        </p:nvGrpSpPr>
        <p:grpSpPr>
          <a:xfrm>
            <a:off x="-2948448" y="-1081430"/>
            <a:ext cx="18088894" cy="8587130"/>
            <a:chOff x="-2948448" y="-1081430"/>
            <a:chExt cx="18088894" cy="8587130"/>
          </a:xfrm>
        </p:grpSpPr>
        <p:sp>
          <p:nvSpPr>
            <p:cNvPr id="40" name="Rectangle 39"/>
            <p:cNvSpPr/>
            <p:nvPr userDrawn="1"/>
          </p:nvSpPr>
          <p:spPr bwMode="auto">
            <a:xfrm>
              <a:off x="12254768" y="-627820"/>
              <a:ext cx="2734592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1" name="Rectangle 40"/>
            <p:cNvSpPr/>
            <p:nvPr userDrawn="1"/>
          </p:nvSpPr>
          <p:spPr bwMode="auto">
            <a:xfrm>
              <a:off x="-2948447" y="-1081430"/>
              <a:ext cx="18088893" cy="9072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auto">
            <a:xfrm>
              <a:off x="-2948448" y="-627820"/>
              <a:ext cx="2924241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35220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552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D6431BBA-32EF-4932-A62F-BC65EF98EA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3900" y="1333500"/>
            <a:ext cx="5372100" cy="44958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 lang="fr-FR" sz="2700" kern="1200" baseline="0" dirty="0" smtClean="0">
                <a:solidFill>
                  <a:srgbClr val="E1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fr-FR" sz="1400" kern="1200" dirty="0" smtClean="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Aft>
                <a:spcPts val="500"/>
              </a:spcAft>
              <a:buFontTx/>
              <a:buNone/>
              <a:defRPr sz="2700"/>
            </a:lvl3pPr>
            <a:lvl4pPr marL="230400">
              <a:lnSpc>
                <a:spcPct val="100000"/>
              </a:lnSpc>
              <a:spcAft>
                <a:spcPts val="500"/>
              </a:spcAft>
              <a:defRPr/>
            </a:lvl4pPr>
            <a:lvl5pPr marL="534988" indent="-228600">
              <a:lnSpc>
                <a:spcPct val="100000"/>
              </a:lnSpc>
              <a:spcAft>
                <a:spcPts val="5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25515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1487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1EC90CA6-55B6-4A98-AE83-3EEDF4B08D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391400" y="1333500"/>
            <a:ext cx="4076700" cy="20955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 dirty="0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DC52EA71-D937-4395-BCA2-8B7B1EC95C9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391400" y="3613135"/>
            <a:ext cx="4076700" cy="221616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723900" y="1333499"/>
            <a:ext cx="6204934" cy="4477093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3160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with 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2724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256AC661-C807-4783-9BE9-444C7BF8BD9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339509"/>
            <a:ext cx="5458116" cy="4489792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1000"/>
              </a:spcAft>
              <a:buFontTx/>
              <a:buNone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indent="-228600">
              <a:lnSpc>
                <a:spcPct val="100000"/>
              </a:lnSpc>
              <a:spcAft>
                <a:spcPts val="500"/>
              </a:spcAft>
              <a:buClr>
                <a:srgbClr val="051039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30400" indent="-228600">
              <a:lnSpc>
                <a:spcPct val="100000"/>
              </a:lnSpc>
              <a:spcAft>
                <a:spcPts val="500"/>
              </a:spcAft>
              <a:buClr>
                <a:srgbClr val="778097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30400" indent="-228600">
              <a:lnSpc>
                <a:spcPct val="100000"/>
              </a:lnSpc>
              <a:spcAft>
                <a:spcPts val="500"/>
              </a:spcAft>
              <a:buClr>
                <a:srgbClr val="FF0000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30400" indent="-228600">
              <a:lnSpc>
                <a:spcPct val="100000"/>
              </a:lnSpc>
              <a:spcAft>
                <a:spcPts val="500"/>
              </a:spcAft>
              <a:buClr>
                <a:srgbClr val="EF7B7B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58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10" name="Rectangle 9"/>
              <p:cNvSpPr/>
              <p:nvPr userDrawn="1"/>
            </p:nvSpPr>
            <p:spPr bwMode="auto">
              <a:xfrm>
                <a:off x="-2734593" y="-154172"/>
                <a:ext cx="2734592" cy="59834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1" name="Rectangle 10"/>
              <p:cNvSpPr/>
              <p:nvPr userDrawn="1"/>
            </p:nvSpPr>
            <p:spPr bwMode="auto">
              <a:xfrm>
                <a:off x="12216205" y="-268472"/>
                <a:ext cx="2734592" cy="60977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2" name="Rectangle 11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9504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riangle rectangle 9">
            <a:extLst>
              <a:ext uri="{FF2B5EF4-FFF2-40B4-BE49-F238E27FC236}">
                <a16:creationId xmlns:a16="http://schemas.microsoft.com/office/drawing/2014/main" id="{0601DE8D-958C-4FEA-B5F4-0158C867A857}"/>
              </a:ext>
            </a:extLst>
          </p:cNvPr>
          <p:cNvSpPr/>
          <p:nvPr userDrawn="1"/>
        </p:nvSpPr>
        <p:spPr>
          <a:xfrm>
            <a:off x="0" y="5829300"/>
            <a:ext cx="266043" cy="10287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</p:spTree>
    <p:extLst>
      <p:ext uri="{BB962C8B-B14F-4D97-AF65-F5344CB8AC3E}">
        <p14:creationId xmlns:p14="http://schemas.microsoft.com/office/powerpoint/2010/main" val="324731516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11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2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EVA Machine Learning Capability Presentation – April 2020</a:t>
            </a:r>
          </a:p>
        </p:txBody>
      </p:sp>
    </p:spTree>
    <p:extLst>
      <p:ext uri="{BB962C8B-B14F-4D97-AF65-F5344CB8AC3E}">
        <p14:creationId xmlns:p14="http://schemas.microsoft.com/office/powerpoint/2010/main" val="1548422141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338092D-F043-4BAD-A86A-EAADCE5BD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5642" y="3300290"/>
            <a:ext cx="8357490" cy="25467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400" cap="all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sz="3400" cap="all" baseline="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051039"/>
                </a:solidFill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b="1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FB76928F-1136-4A9F-903A-3CEDC7DF4D84}"/>
              </a:ext>
            </a:extLst>
          </p:cNvPr>
          <p:cNvCxnSpPr/>
          <p:nvPr userDrawn="1"/>
        </p:nvCxnSpPr>
        <p:spPr>
          <a:xfrm>
            <a:off x="-1" y="2237930"/>
            <a:ext cx="12192001" cy="0"/>
          </a:xfrm>
          <a:prstGeom prst="line">
            <a:avLst/>
          </a:prstGeom>
          <a:ln w="19050">
            <a:solidFill>
              <a:srgbClr val="E524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633DCCE9-20D0-4C86-9B18-249B2A65FB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3072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1" name="Espace réservé pour une image  18">
            <a:extLst>
              <a:ext uri="{FF2B5EF4-FFF2-40B4-BE49-F238E27FC236}">
                <a16:creationId xmlns:a16="http://schemas.microsoft.com/office/drawing/2014/main" id="{CD0BE052-3C4C-41A0-8BAF-AB33F0DFE8B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07707" y="850577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2" name="Espace réservé pour une image  18">
            <a:extLst>
              <a:ext uri="{FF2B5EF4-FFF2-40B4-BE49-F238E27FC236}">
                <a16:creationId xmlns:a16="http://schemas.microsoft.com/office/drawing/2014/main" id="{F2CEE392-80A5-49A0-B621-DDCCA55472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6162" y="850578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3" name="Espace réservé pour une image  18">
            <a:extLst>
              <a:ext uri="{FF2B5EF4-FFF2-40B4-BE49-F238E27FC236}">
                <a16:creationId xmlns:a16="http://schemas.microsoft.com/office/drawing/2014/main" id="{38B007EF-0E9D-4BFB-A21E-D9663D9CD4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64617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Triangle rectangle 9">
            <a:extLst>
              <a:ext uri="{FF2B5EF4-FFF2-40B4-BE49-F238E27FC236}">
                <a16:creationId xmlns:a16="http://schemas.microsoft.com/office/drawing/2014/main" id="{0601DE8D-958C-4FEA-B5F4-0158C867A857}"/>
              </a:ext>
            </a:extLst>
          </p:cNvPr>
          <p:cNvSpPr/>
          <p:nvPr userDrawn="1"/>
        </p:nvSpPr>
        <p:spPr>
          <a:xfrm>
            <a:off x="-1" y="3300290"/>
            <a:ext cx="866838" cy="3589245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25" name="Group 24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30" name="Rectangle 29"/>
              <p:cNvSpPr/>
              <p:nvPr userDrawn="1"/>
            </p:nvSpPr>
            <p:spPr bwMode="auto">
              <a:xfrm>
                <a:off x="-2734593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 bwMode="auto">
              <a:xfrm>
                <a:off x="12216205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6" name="Line 9"/>
            <p:cNvSpPr>
              <a:spLocks noChangeShapeType="1"/>
            </p:cNvSpPr>
            <p:nvPr userDrawn="1"/>
          </p:nvSpPr>
          <p:spPr bwMode="auto">
            <a:xfrm flipH="1">
              <a:off x="12234177" y="5823620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7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28" name="Line 9"/>
            <p:cNvSpPr>
              <a:spLocks noChangeShapeType="1"/>
            </p:cNvSpPr>
            <p:nvPr userDrawn="1"/>
          </p:nvSpPr>
          <p:spPr bwMode="auto">
            <a:xfrm>
              <a:off x="-2221716" y="5830005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grpSp>
        <p:nvGrpSpPr>
          <p:cNvPr id="6" name="Group 5"/>
          <p:cNvGrpSpPr/>
          <p:nvPr userDrawn="1"/>
        </p:nvGrpSpPr>
        <p:grpSpPr>
          <a:xfrm>
            <a:off x="-2948448" y="-1081430"/>
            <a:ext cx="18088894" cy="8587130"/>
            <a:chOff x="-2948448" y="-1081430"/>
            <a:chExt cx="18088894" cy="8587130"/>
          </a:xfrm>
        </p:grpSpPr>
        <p:sp>
          <p:nvSpPr>
            <p:cNvPr id="40" name="Rectangle 39"/>
            <p:cNvSpPr/>
            <p:nvPr userDrawn="1"/>
          </p:nvSpPr>
          <p:spPr bwMode="auto">
            <a:xfrm>
              <a:off x="12254768" y="-627820"/>
              <a:ext cx="2734592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1" name="Rectangle 40"/>
            <p:cNvSpPr/>
            <p:nvPr userDrawn="1"/>
          </p:nvSpPr>
          <p:spPr bwMode="auto">
            <a:xfrm>
              <a:off x="-2948447" y="-1081430"/>
              <a:ext cx="18088893" cy="9072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auto">
            <a:xfrm>
              <a:off x="-2948448" y="-627820"/>
              <a:ext cx="2924241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6805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10" name="Rectangle 9"/>
              <p:cNvSpPr/>
              <p:nvPr userDrawn="1"/>
            </p:nvSpPr>
            <p:spPr bwMode="auto">
              <a:xfrm>
                <a:off x="-2734593" y="-154172"/>
                <a:ext cx="2734592" cy="59834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1" name="Rectangle 10"/>
              <p:cNvSpPr/>
              <p:nvPr userDrawn="1"/>
            </p:nvSpPr>
            <p:spPr bwMode="auto">
              <a:xfrm>
                <a:off x="12216205" y="-268472"/>
                <a:ext cx="2734592" cy="60977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2" name="Rectangle 11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83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517696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ugust 202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8266ED-5171-485D-BF71-455455A971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548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156FECC-2C03-4DF2-8CB3-34D3A1F5A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29B404-1031-4BC8-B29E-77232E72A83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C5C995BC-027C-4DD4-A6EE-DBAE079927A7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</p:spTree>
    <p:extLst>
      <p:ext uri="{BB962C8B-B14F-4D97-AF65-F5344CB8AC3E}">
        <p14:creationId xmlns:p14="http://schemas.microsoft.com/office/powerpoint/2010/main" val="1424998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321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8293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5" name="Title 3"/>
          <p:cNvSpPr>
            <a:spLocks noGrp="1"/>
          </p:cNvSpPr>
          <p:nvPr>
            <p:ph type="title" hasCustomPrompt="1"/>
          </p:nvPr>
        </p:nvSpPr>
        <p:spPr>
          <a:xfrm>
            <a:off x="3467100" y="3429000"/>
            <a:ext cx="6629400" cy="11430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3467100" y="4572000"/>
            <a:ext cx="6629400" cy="1143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27" name="Group 26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24" name="Rectangle 23"/>
              <p:cNvSpPr/>
              <p:nvPr userDrawn="1"/>
            </p:nvSpPr>
            <p:spPr bwMode="auto">
              <a:xfrm>
                <a:off x="-2734593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 bwMode="auto">
              <a:xfrm>
                <a:off x="12216205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1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23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560041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102415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250522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99505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FE4E6A-473D-4CDA-B081-F316E386C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45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4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AD825E-2DA1-4B13-ABAD-93D58C434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7564F35-DA43-4FD1-930B-5C8EB0582CD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B296AB56-DE12-45D7-A367-54B4CFAA4EFC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</p:spTree>
    <p:extLst>
      <p:ext uri="{BB962C8B-B14F-4D97-AF65-F5344CB8AC3E}">
        <p14:creationId xmlns:p14="http://schemas.microsoft.com/office/powerpoint/2010/main" val="2274469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804700"/>
      </p:ext>
    </p:extLst>
  </p:cSld>
  <p:clrMapOvr>
    <a:masterClrMapping/>
  </p:clrMapOvr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435681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179759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466982"/>
      </p:ext>
    </p:extLst>
  </p:cSld>
  <p:clrMapOvr>
    <a:masterClrMapping/>
  </p:clrMapOvr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7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754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68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8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72C3F7FE-A6AA-4998-A544-3C5759B223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19/2022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FD02F6D-980A-4B9A-8947-DDA760F125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5778C19-6BA6-4D40-B1E9-97922D28F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B02D9113-30EF-4A87-A7FB-19A3FDFDC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8633027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633DCCE9-20D0-4C86-9B18-249B2A65FB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582929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338092D-F043-4BAD-A86A-EAADCE5BD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5642" y="3775934"/>
            <a:ext cx="8460358" cy="2053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400" cap="all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sz="3400" cap="all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accent2"/>
                </a:solidFill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6" name="Group 5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11" name="Rectangle 10"/>
              <p:cNvSpPr/>
              <p:nvPr userDrawn="1"/>
            </p:nvSpPr>
            <p:spPr bwMode="auto">
              <a:xfrm>
                <a:off x="-2734593" y="-154172"/>
                <a:ext cx="2734592" cy="59834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2" name="Rectangle 11"/>
              <p:cNvSpPr/>
              <p:nvPr userDrawn="1"/>
            </p:nvSpPr>
            <p:spPr bwMode="auto">
              <a:xfrm>
                <a:off x="12216205" y="-268472"/>
                <a:ext cx="2734592" cy="60977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3" name="Rectangle 12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40297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338092D-F043-4BAD-A86A-EAADCE5BD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5642" y="3300290"/>
            <a:ext cx="8357490" cy="25467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400" cap="all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sz="3400" cap="all" baseline="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051039"/>
                </a:solidFill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b="1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FB76928F-1136-4A9F-903A-3CEDC7DF4D84}"/>
              </a:ext>
            </a:extLst>
          </p:cNvPr>
          <p:cNvCxnSpPr/>
          <p:nvPr userDrawn="1"/>
        </p:nvCxnSpPr>
        <p:spPr>
          <a:xfrm>
            <a:off x="-1" y="2237930"/>
            <a:ext cx="12192001" cy="0"/>
          </a:xfrm>
          <a:prstGeom prst="line">
            <a:avLst/>
          </a:prstGeom>
          <a:ln w="19050">
            <a:solidFill>
              <a:srgbClr val="E524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633DCCE9-20D0-4C86-9B18-249B2A65FB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3072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1" name="Espace réservé pour une image  18">
            <a:extLst>
              <a:ext uri="{FF2B5EF4-FFF2-40B4-BE49-F238E27FC236}">
                <a16:creationId xmlns:a16="http://schemas.microsoft.com/office/drawing/2014/main" id="{CD0BE052-3C4C-41A0-8BAF-AB33F0DFE8B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07707" y="850577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2" name="Espace réservé pour une image  18">
            <a:extLst>
              <a:ext uri="{FF2B5EF4-FFF2-40B4-BE49-F238E27FC236}">
                <a16:creationId xmlns:a16="http://schemas.microsoft.com/office/drawing/2014/main" id="{F2CEE392-80A5-49A0-B621-DDCCA55472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6162" y="850578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3" name="Espace réservé pour une image  18">
            <a:extLst>
              <a:ext uri="{FF2B5EF4-FFF2-40B4-BE49-F238E27FC236}">
                <a16:creationId xmlns:a16="http://schemas.microsoft.com/office/drawing/2014/main" id="{38B007EF-0E9D-4BFB-A21E-D9663D9CD4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64617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Triangle rectangle 9">
            <a:extLst>
              <a:ext uri="{FF2B5EF4-FFF2-40B4-BE49-F238E27FC236}">
                <a16:creationId xmlns:a16="http://schemas.microsoft.com/office/drawing/2014/main" id="{0601DE8D-958C-4FEA-B5F4-0158C867A857}"/>
              </a:ext>
            </a:extLst>
          </p:cNvPr>
          <p:cNvSpPr/>
          <p:nvPr userDrawn="1"/>
        </p:nvSpPr>
        <p:spPr>
          <a:xfrm>
            <a:off x="-1" y="3300290"/>
            <a:ext cx="866838" cy="3589245"/>
          </a:xfrm>
          <a:prstGeom prst="rt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25" name="Group 24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30" name="Rectangle 29"/>
              <p:cNvSpPr/>
              <p:nvPr userDrawn="1"/>
            </p:nvSpPr>
            <p:spPr bwMode="auto">
              <a:xfrm>
                <a:off x="-2734593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 bwMode="auto">
              <a:xfrm>
                <a:off x="12216205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6" name="Line 9"/>
            <p:cNvSpPr>
              <a:spLocks noChangeShapeType="1"/>
            </p:cNvSpPr>
            <p:nvPr userDrawn="1"/>
          </p:nvSpPr>
          <p:spPr bwMode="auto">
            <a:xfrm flipH="1">
              <a:off x="12234177" y="5823620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7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28" name="Line 9"/>
            <p:cNvSpPr>
              <a:spLocks noChangeShapeType="1"/>
            </p:cNvSpPr>
            <p:nvPr userDrawn="1"/>
          </p:nvSpPr>
          <p:spPr bwMode="auto">
            <a:xfrm>
              <a:off x="-2221716" y="5830005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grpSp>
        <p:nvGrpSpPr>
          <p:cNvPr id="6" name="Group 5"/>
          <p:cNvGrpSpPr/>
          <p:nvPr userDrawn="1"/>
        </p:nvGrpSpPr>
        <p:grpSpPr>
          <a:xfrm>
            <a:off x="-2948448" y="-1081430"/>
            <a:ext cx="18088894" cy="8587130"/>
            <a:chOff x="-2948448" y="-1081430"/>
            <a:chExt cx="18088894" cy="8587130"/>
          </a:xfrm>
        </p:grpSpPr>
        <p:sp>
          <p:nvSpPr>
            <p:cNvPr id="40" name="Rectangle 39"/>
            <p:cNvSpPr/>
            <p:nvPr userDrawn="1"/>
          </p:nvSpPr>
          <p:spPr bwMode="auto">
            <a:xfrm>
              <a:off x="12254768" y="-627820"/>
              <a:ext cx="2734592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1" name="Rectangle 40"/>
            <p:cNvSpPr/>
            <p:nvPr userDrawn="1"/>
          </p:nvSpPr>
          <p:spPr bwMode="auto">
            <a:xfrm>
              <a:off x="-2948447" y="-1081430"/>
              <a:ext cx="18088893" cy="9072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auto">
            <a:xfrm>
              <a:off x="-2948448" y="-627820"/>
              <a:ext cx="2924241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89065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795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EVA Machine Learning Capability Presentation – April 2020</a:t>
            </a:r>
          </a:p>
        </p:txBody>
      </p:sp>
    </p:spTree>
    <p:extLst>
      <p:ext uri="{BB962C8B-B14F-4D97-AF65-F5344CB8AC3E}">
        <p14:creationId xmlns:p14="http://schemas.microsoft.com/office/powerpoint/2010/main" val="1367985256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45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067727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548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3900" y="1295400"/>
            <a:ext cx="10744200" cy="4533900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EVA Machine Learning Capability Presentation – August 2021</a:t>
            </a:r>
          </a:p>
        </p:txBody>
      </p:sp>
    </p:spTree>
    <p:extLst>
      <p:ext uri="{BB962C8B-B14F-4D97-AF65-F5344CB8AC3E}">
        <p14:creationId xmlns:p14="http://schemas.microsoft.com/office/powerpoint/2010/main" val="158630717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25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3900" y="1333500"/>
            <a:ext cx="5270500" cy="4495800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6197600" y="1333500"/>
            <a:ext cx="5270500" cy="4495800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916871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5823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3900" y="1333500"/>
            <a:ext cx="5270500" cy="6136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723900" y="2171700"/>
            <a:ext cx="5270500" cy="3657600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6197600" y="1333500"/>
            <a:ext cx="5270500" cy="6136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5"/>
          </p:nvPr>
        </p:nvSpPr>
        <p:spPr>
          <a:xfrm>
            <a:off x="6197600" y="2171700"/>
            <a:ext cx="5270500" cy="3657600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311872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230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D6BD240-FBBC-4284-8231-8A0771747D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3900" y="1333499"/>
            <a:ext cx="5372099" cy="4495801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1000"/>
              </a:spcAft>
              <a:buFontTx/>
              <a:buNone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indent="-228600">
              <a:lnSpc>
                <a:spcPct val="100000"/>
              </a:lnSpc>
              <a:spcAft>
                <a:spcPts val="500"/>
              </a:spcAft>
              <a:buClr>
                <a:srgbClr val="051039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30400" indent="-228600">
              <a:lnSpc>
                <a:spcPct val="100000"/>
              </a:lnSpc>
              <a:spcAft>
                <a:spcPts val="500"/>
              </a:spcAft>
              <a:buClr>
                <a:srgbClr val="778097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30400" indent="-228600">
              <a:lnSpc>
                <a:spcPct val="100000"/>
              </a:lnSpc>
              <a:spcAft>
                <a:spcPts val="500"/>
              </a:spcAft>
              <a:buClr>
                <a:srgbClr val="FF0000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30400" indent="-228600">
              <a:lnSpc>
                <a:spcPct val="100000"/>
              </a:lnSpc>
              <a:spcAft>
                <a:spcPts val="500"/>
              </a:spcAft>
              <a:buClr>
                <a:srgbClr val="EF7B7B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3724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ags" Target="../tags/tag27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2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vmlDrawing" Target="../drawings/vmlDrawing13.v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15378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22" imgW="336" imgH="336" progId="TCLayout.ActiveDocument.1">
                  <p:embed/>
                </p:oleObj>
              </mc:Choice>
              <mc:Fallback>
                <p:oleObj name="think-cell Slide" r:id="rId22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723900" y="228600"/>
            <a:ext cx="10744200" cy="850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l-NL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723900" y="1295400"/>
            <a:ext cx="10744200" cy="453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0400" lvl="1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500"/>
              </a:spcAft>
              <a:buClr>
                <a:srgbClr val="051039"/>
              </a:buClr>
              <a:buFont typeface="Symbol" panose="05050102010706020507" pitchFamily="18" charset="2"/>
              <a:buChar char=""/>
            </a:pPr>
            <a:r>
              <a:rPr lang="en-US" altLang="nl-NL" dirty="0"/>
              <a:t>Click to edit Master text styles</a:t>
            </a:r>
          </a:p>
          <a:p>
            <a:pPr lvl="1"/>
            <a:r>
              <a:rPr lang="en-US" altLang="nl-NL" dirty="0"/>
              <a:t>Second level</a:t>
            </a:r>
          </a:p>
          <a:p>
            <a:pPr lvl="2"/>
            <a:r>
              <a:rPr lang="en-US" altLang="nl-NL" dirty="0"/>
              <a:t>Third level</a:t>
            </a:r>
          </a:p>
          <a:p>
            <a:pPr lvl="3"/>
            <a:r>
              <a:rPr lang="en-US" altLang="nl-NL" dirty="0"/>
              <a:t>Fourth level</a:t>
            </a:r>
          </a:p>
          <a:p>
            <a:pPr lvl="4"/>
            <a:r>
              <a:rPr lang="en-US" altLang="nl-NL" dirty="0"/>
              <a:t>Fifth level</a:t>
            </a:r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E4C53B06-4054-41E1-A243-6C2C2B6BD744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271" y="5976303"/>
            <a:ext cx="1818000" cy="879533"/>
          </a:xfrm>
          <a:prstGeom prst="rect">
            <a:avLst/>
          </a:prstGeom>
        </p:spPr>
      </p:pic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EVA Machine Learning Capability Presentation – April 2020</a:t>
            </a:r>
          </a:p>
        </p:txBody>
      </p:sp>
      <p:sp>
        <p:nvSpPr>
          <p:cNvPr id="12" name="Triangle rectangle 9">
            <a:extLst>
              <a:ext uri="{FF2B5EF4-FFF2-40B4-BE49-F238E27FC236}">
                <a16:creationId xmlns:a16="http://schemas.microsoft.com/office/drawing/2014/main" id="{0601DE8D-958C-4FEA-B5F4-0158C867A857}"/>
              </a:ext>
            </a:extLst>
          </p:cNvPr>
          <p:cNvSpPr/>
          <p:nvPr userDrawn="1"/>
        </p:nvSpPr>
        <p:spPr>
          <a:xfrm>
            <a:off x="0" y="5829300"/>
            <a:ext cx="266043" cy="10287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365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68" r:id="rId2"/>
    <p:sldLayoutId id="2147483682" r:id="rId3"/>
    <p:sldLayoutId id="2147483687" r:id="rId4"/>
    <p:sldLayoutId id="2147483673" r:id="rId5"/>
    <p:sldLayoutId id="2147483669" r:id="rId6"/>
    <p:sldLayoutId id="2147483671" r:id="rId7"/>
    <p:sldLayoutId id="2147483672" r:id="rId8"/>
    <p:sldLayoutId id="2147483684" r:id="rId9"/>
    <p:sldLayoutId id="2147483683" r:id="rId10"/>
    <p:sldLayoutId id="2147483685" r:id="rId11"/>
    <p:sldLayoutId id="2147483688" r:id="rId12"/>
    <p:sldLayoutId id="2147483681" r:id="rId13"/>
    <p:sldLayoutId id="2147483686" r:id="rId14"/>
    <p:sldLayoutId id="2147483701" r:id="rId15"/>
    <p:sldLayoutId id="2147483702" r:id="rId16"/>
    <p:sldLayoutId id="2147483703" r:id="rId17"/>
  </p:sldLayoutIdLst>
  <p:transition spd="med"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87550" indent="-285750" algn="l" rtl="0" eaLnBrk="0" fontAlgn="base" hangingPunct="0">
        <a:lnSpc>
          <a:spcPct val="125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13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lr>
          <a:schemeClr val="accent3"/>
        </a:buClr>
        <a:buSzPct val="120000"/>
        <a:buFont typeface="Wingdings" panose="05000000000000000000" pitchFamily="2" charset="2"/>
        <a:buChar char="§"/>
        <a:defRPr lang="en-US" altLang="nl-NL" sz="1400" kern="1200" dirty="0" smtClean="0">
          <a:solidFill>
            <a:srgbClr val="05103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lr>
          <a:schemeClr val="accent2"/>
        </a:buClr>
        <a:buChar char="o"/>
        <a:defRPr sz="14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lr>
          <a:srgbClr val="FF3C3C"/>
        </a:buClr>
        <a:buFont typeface="Arial" panose="020B0604020202020204" pitchFamily="34" charset="0"/>
        <a:buChar char="-"/>
        <a:defRPr sz="14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-"/>
        <a:defRPr sz="14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pos="7512" userDrawn="1">
          <p15:clr>
            <a:srgbClr val="9FCC3B"/>
          </p15:clr>
        </p15:guide>
        <p15:guide id="4" pos="168" userDrawn="1">
          <p15:clr>
            <a:srgbClr val="9FCC3B"/>
          </p15:clr>
        </p15:guide>
        <p15:guide id="5" orient="horz" pos="144" userDrawn="1">
          <p15:clr>
            <a:srgbClr val="9FCC3B"/>
          </p15:clr>
        </p15:guide>
        <p15:guide id="6" orient="horz" pos="3672" userDrawn="1">
          <p15:clr>
            <a:srgbClr val="547EBF"/>
          </p15:clr>
        </p15:guide>
        <p15:guide id="7" pos="456" userDrawn="1">
          <p15:clr>
            <a:srgbClr val="547EBF"/>
          </p15:clr>
        </p15:guide>
        <p15:guide id="8" orient="horz" pos="816" userDrawn="1">
          <p15:clr>
            <a:srgbClr val="547EBF"/>
          </p15:clr>
        </p15:guide>
        <p15:guide id="9" orient="horz" pos="672" userDrawn="1">
          <p15:clr>
            <a:srgbClr val="547EBF"/>
          </p15:clr>
        </p15:guide>
        <p15:guide id="10" pos="7224" userDrawn="1">
          <p15:clr>
            <a:srgbClr val="547EBF"/>
          </p15:clr>
        </p15:guide>
        <p15:guide id="11" pos="3840" userDrawn="1">
          <p15:clr>
            <a:srgbClr val="F26B43"/>
          </p15:clr>
        </p15:guide>
        <p15:guide id="12" orient="horz" pos="4152" userDrawn="1">
          <p15:clr>
            <a:srgbClr val="9FCC3B"/>
          </p15:clr>
        </p15:guide>
        <p15:guide id="13" pos="6696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7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CE72C4-B887-48C3-84BA-3563D97F9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15378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6" name="think-cell Slide" r:id="rId18" imgW="336" imgH="336" progId="TCLayout.ActiveDocument.1">
                  <p:embed/>
                </p:oleObj>
              </mc:Choice>
              <mc:Fallback>
                <p:oleObj name="think-cell Slide" r:id="rId18" imgW="336" imgH="33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9FBC69-FE08-4247-878D-43795DC10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D9E5662-CA21-40D0-850B-064B50E5ABBA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679FBFAD-6072-45D2-A65C-80658B910E04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271" y="5976303"/>
            <a:ext cx="1818000" cy="879533"/>
          </a:xfrm>
          <a:prstGeom prst="rect">
            <a:avLst/>
          </a:prstGeom>
        </p:spPr>
      </p:pic>
      <p:sp>
        <p:nvSpPr>
          <p:cNvPr id="10" name="Triangle rectangle 9">
            <a:extLst>
              <a:ext uri="{FF2B5EF4-FFF2-40B4-BE49-F238E27FC236}">
                <a16:creationId xmlns:a16="http://schemas.microsoft.com/office/drawing/2014/main" id="{00F09269-D9D7-4B7E-89C8-92D46FEAAA47}"/>
              </a:ext>
            </a:extLst>
          </p:cNvPr>
          <p:cNvSpPr/>
          <p:nvPr userDrawn="1"/>
        </p:nvSpPr>
        <p:spPr>
          <a:xfrm>
            <a:off x="0" y="5829300"/>
            <a:ext cx="266043" cy="1028700"/>
          </a:xfrm>
          <a:prstGeom prst="rt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5559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12" userDrawn="1">
          <p15:clr>
            <a:srgbClr val="9FCC3B"/>
          </p15:clr>
        </p15:guide>
        <p15:guide id="2" pos="168" userDrawn="1">
          <p15:clr>
            <a:srgbClr val="9FCC3B"/>
          </p15:clr>
        </p15:guide>
        <p15:guide id="3" orient="horz" pos="144" userDrawn="1">
          <p15:clr>
            <a:srgbClr val="9FCC3B"/>
          </p15:clr>
        </p15:guide>
        <p15:guide id="4" orient="horz" pos="3672" userDrawn="1">
          <p15:clr>
            <a:srgbClr val="547EBF"/>
          </p15:clr>
        </p15:guide>
        <p15:guide id="5" pos="456" userDrawn="1">
          <p15:clr>
            <a:srgbClr val="547EBF"/>
          </p15:clr>
        </p15:guide>
        <p15:guide id="6" orient="horz" pos="816" userDrawn="1">
          <p15:clr>
            <a:srgbClr val="547EBF"/>
          </p15:clr>
        </p15:guide>
        <p15:guide id="7" orient="horz" pos="672" userDrawn="1">
          <p15:clr>
            <a:srgbClr val="547EBF"/>
          </p15:clr>
        </p15:guide>
        <p15:guide id="8" pos="7224" userDrawn="1">
          <p15:clr>
            <a:srgbClr val="547EBF"/>
          </p15:clr>
        </p15:guide>
        <p15:guide id="9" pos="3840" userDrawn="1">
          <p15:clr>
            <a:srgbClr val="F26B43"/>
          </p15:clr>
        </p15:guide>
        <p15:guide id="10" orient="horz" pos="4152" userDrawn="1">
          <p15:clr>
            <a:srgbClr val="9FCC3B"/>
          </p15:clr>
        </p15:guide>
        <p15:guide id="11" pos="6696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image" Target="../media/image17.png"/><Relationship Id="rId21" Type="http://schemas.openxmlformats.org/officeDocument/2006/relationships/image" Target="../media/image34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Relationship Id="rId22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18" Type="http://schemas.openxmlformats.org/officeDocument/2006/relationships/image" Target="../media/image20.png"/><Relationship Id="rId3" Type="http://schemas.openxmlformats.org/officeDocument/2006/relationships/image" Target="../media/image36.png"/><Relationship Id="rId21" Type="http://schemas.openxmlformats.org/officeDocument/2006/relationships/image" Target="../media/image47.png"/><Relationship Id="rId7" Type="http://schemas.openxmlformats.org/officeDocument/2006/relationships/image" Target="../media/image16.png"/><Relationship Id="rId12" Type="http://schemas.openxmlformats.org/officeDocument/2006/relationships/image" Target="../media/image43.png"/><Relationship Id="rId17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3.png"/><Relationship Id="rId20" Type="http://schemas.openxmlformats.org/officeDocument/2006/relationships/image" Target="../media/image46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8.png"/><Relationship Id="rId11" Type="http://schemas.openxmlformats.org/officeDocument/2006/relationships/image" Target="../media/image42.png"/><Relationship Id="rId5" Type="http://schemas.openxmlformats.org/officeDocument/2006/relationships/image" Target="../media/image22.png"/><Relationship Id="rId15" Type="http://schemas.openxmlformats.org/officeDocument/2006/relationships/image" Target="../media/image45.png"/><Relationship Id="rId10" Type="http://schemas.openxmlformats.org/officeDocument/2006/relationships/image" Target="../media/image41.png"/><Relationship Id="rId19" Type="http://schemas.openxmlformats.org/officeDocument/2006/relationships/image" Target="../media/image21.png"/><Relationship Id="rId4" Type="http://schemas.openxmlformats.org/officeDocument/2006/relationships/image" Target="../media/image37.png"/><Relationship Id="rId9" Type="http://schemas.openxmlformats.org/officeDocument/2006/relationships/image" Target="../media/image40.png"/><Relationship Id="rId1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10" Type="http://schemas.openxmlformats.org/officeDocument/2006/relationships/image" Target="../media/image6.png"/><Relationship Id="rId4" Type="http://schemas.openxmlformats.org/officeDocument/2006/relationships/diagramQuickStyle" Target="../diagrams/quickStyle2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0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6.png"/><Relationship Id="rId4" Type="http://schemas.openxmlformats.org/officeDocument/2006/relationships/diagramLayout" Target="../diagrams/layout1.xml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0.xml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AF4CCB-14D6-4EF3-9B6E-549D2B3F2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428" y="6492875"/>
            <a:ext cx="4598846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40B83A"/>
                </a:solidFill>
              </a:rPr>
              <a:t>CEVA Machine Learning Capability Pres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FEF038-1F5F-41B2-8B8E-7A5E6EEB0BC5}"/>
              </a:ext>
            </a:extLst>
          </p:cNvPr>
          <p:cNvSpPr txBox="1"/>
          <p:nvPr/>
        </p:nvSpPr>
        <p:spPr>
          <a:xfrm>
            <a:off x="4255669" y="1662040"/>
            <a:ext cx="326167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07693D"/>
                </a:solidFill>
              </a:rPr>
              <a:t>Now</a:t>
            </a:r>
          </a:p>
          <a:p>
            <a:pPr algn="ctr"/>
            <a:r>
              <a:rPr lang="en-US" sz="3600" b="1" dirty="0">
                <a:solidFill>
                  <a:srgbClr val="07693D"/>
                </a:solidFill>
              </a:rPr>
              <a:t>Knows</a:t>
            </a:r>
          </a:p>
          <a:p>
            <a:pPr algn="ctr"/>
            <a:r>
              <a:rPr lang="en-US" sz="6000" b="1" dirty="0">
                <a:solidFill>
                  <a:srgbClr val="07693D"/>
                </a:solidFill>
              </a:rPr>
              <a:t>Green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45B95B-AC80-4C3B-B6F6-6A36E455ECDA}"/>
              </a:ext>
            </a:extLst>
          </p:cNvPr>
          <p:cNvGrpSpPr/>
          <p:nvPr/>
        </p:nvGrpSpPr>
        <p:grpSpPr>
          <a:xfrm>
            <a:off x="1684804" y="3181560"/>
            <a:ext cx="2198482" cy="2073708"/>
            <a:chOff x="2757827" y="3807684"/>
            <a:chExt cx="1661285" cy="1661285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8619635-3D5F-4DF3-9B55-1A2FACFD8FBD}"/>
                </a:ext>
              </a:extLst>
            </p:cNvPr>
            <p:cNvGrpSpPr/>
            <p:nvPr/>
          </p:nvGrpSpPr>
          <p:grpSpPr>
            <a:xfrm>
              <a:off x="2757827" y="3807684"/>
              <a:ext cx="1661285" cy="1661285"/>
              <a:chOff x="4217300" y="2446155"/>
              <a:chExt cx="1661285" cy="1661285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FB8EEBE6-D1CC-480B-88F9-7790BF0AFC05}"/>
                  </a:ext>
                </a:extLst>
              </p:cNvPr>
              <p:cNvSpPr/>
              <p:nvPr/>
            </p:nvSpPr>
            <p:spPr>
              <a:xfrm>
                <a:off x="4217300" y="2446155"/>
                <a:ext cx="1661285" cy="1661285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76200">
                <a:solidFill>
                  <a:srgbClr val="002060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5" name="Oval 4">
                <a:extLst>
                  <a:ext uri="{FF2B5EF4-FFF2-40B4-BE49-F238E27FC236}">
                    <a16:creationId xmlns:a16="http://schemas.microsoft.com/office/drawing/2014/main" id="{DC4AC053-F10E-463A-96E2-301F32BD352C}"/>
                  </a:ext>
                </a:extLst>
              </p:cNvPr>
              <p:cNvSpPr txBox="1"/>
              <p:nvPr/>
            </p:nvSpPr>
            <p:spPr>
              <a:xfrm>
                <a:off x="4460590" y="2689445"/>
                <a:ext cx="1174705" cy="117470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000" b="1" kern="1200" dirty="0">
                  <a:solidFill>
                    <a:srgbClr val="002060"/>
                  </a:solidFill>
                </a:endParaRPr>
              </a:p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2800" b="1" kern="1200" dirty="0">
                  <a:solidFill>
                    <a:srgbClr val="002060"/>
                  </a:solidFill>
                </a:endParaRPr>
              </a:p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400" b="1" kern="1200" dirty="0">
                    <a:solidFill>
                      <a:srgbClr val="002060"/>
                    </a:solidFill>
                  </a:rPr>
                  <a:t>Supply Chain</a:t>
                </a: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785C9C4-B78A-41B7-8BD7-F69C9C9021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25029" y="4251168"/>
              <a:ext cx="1132364" cy="237403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3EF2500-88BD-4940-9A93-94BB103CA5C2}"/>
                </a:ext>
              </a:extLst>
            </p:cNvPr>
            <p:cNvSpPr/>
            <p:nvPr/>
          </p:nvSpPr>
          <p:spPr>
            <a:xfrm flipH="1">
              <a:off x="2862163" y="4457276"/>
              <a:ext cx="1393506" cy="46166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2400" b="1" cap="none" spc="50" dirty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Smart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FC0D5FD9-3F9E-43F7-90B0-D0BB903D6E54}"/>
              </a:ext>
            </a:extLst>
          </p:cNvPr>
          <p:cNvSpPr txBox="1"/>
          <p:nvPr/>
        </p:nvSpPr>
        <p:spPr>
          <a:xfrm>
            <a:off x="5049954" y="3790454"/>
            <a:ext cx="159210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>
                <a:solidFill>
                  <a:srgbClr val="07693D"/>
                </a:solidFill>
              </a:rPr>
              <a:t>Presenting</a:t>
            </a:r>
          </a:p>
          <a:p>
            <a:pPr algn="ctr"/>
            <a:r>
              <a:rPr lang="en-US" sz="2400" dirty="0">
                <a:solidFill>
                  <a:srgbClr val="07693D"/>
                </a:solidFill>
              </a:rPr>
              <a:t>By</a:t>
            </a:r>
          </a:p>
          <a:p>
            <a:pPr algn="ctr"/>
            <a:r>
              <a:rPr lang="en-US" sz="2400" dirty="0">
                <a:solidFill>
                  <a:srgbClr val="07693D"/>
                </a:solidFill>
              </a:rPr>
              <a:t>Daphne Liu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C2B68F4-2D6D-45A7-AFDB-59ABF3FFADED}"/>
              </a:ext>
            </a:extLst>
          </p:cNvPr>
          <p:cNvSpPr/>
          <p:nvPr/>
        </p:nvSpPr>
        <p:spPr>
          <a:xfrm>
            <a:off x="7933588" y="3157050"/>
            <a:ext cx="2151943" cy="2061077"/>
          </a:xfrm>
          <a:prstGeom prst="ellipse">
            <a:avLst/>
          </a:prstGeom>
          <a:solidFill>
            <a:srgbClr val="FCFFD1"/>
          </a:solidFill>
          <a:ln w="76200">
            <a:solidFill>
              <a:srgbClr val="07693D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B9F533D-5848-4758-BAAD-A492FD553272}"/>
              </a:ext>
            </a:extLst>
          </p:cNvPr>
          <p:cNvGrpSpPr/>
          <p:nvPr/>
        </p:nvGrpSpPr>
        <p:grpSpPr>
          <a:xfrm>
            <a:off x="8081358" y="3964371"/>
            <a:ext cx="1933822" cy="530753"/>
            <a:chOff x="8163957" y="2296958"/>
            <a:chExt cx="3664865" cy="976442"/>
          </a:xfrm>
        </p:grpSpPr>
        <p:pic>
          <p:nvPicPr>
            <p:cNvPr id="8" name="Picture 7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BBA6965E-B6FB-4625-86F9-949324694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50000"/>
                      </a14:imgEffect>
                      <a14:imgEffect>
                        <a14:brightnessContrast brigh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63957" y="2296958"/>
              <a:ext cx="1687611" cy="934742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EA58CDF-4789-45CE-A0DD-91561F030178}"/>
                </a:ext>
              </a:extLst>
            </p:cNvPr>
            <p:cNvSpPr txBox="1"/>
            <p:nvPr/>
          </p:nvSpPr>
          <p:spPr>
            <a:xfrm>
              <a:off x="9815574" y="2593929"/>
              <a:ext cx="2013248" cy="6794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07693D"/>
                  </a:solidFill>
                </a:rPr>
                <a:t>e-aware</a:t>
              </a:r>
            </a:p>
          </p:txBody>
        </p:sp>
      </p:grp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53887F03-AD64-472A-9A35-30D422A46B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160" y="673951"/>
            <a:ext cx="3495675" cy="101917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63C3136-7E4D-4F40-B7B9-15A61C3D0D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18004" y="3911404"/>
            <a:ext cx="1025350" cy="31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271341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16020D-C36F-42EC-9C2B-3CB22BED8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0CE2A61-4C3C-41AC-99FA-D6AD7DC8A205}"/>
              </a:ext>
            </a:extLst>
          </p:cNvPr>
          <p:cNvSpPr/>
          <p:nvPr/>
        </p:nvSpPr>
        <p:spPr>
          <a:xfrm>
            <a:off x="2840906" y="1527641"/>
            <a:ext cx="6821473" cy="34163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dirty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ur Challeng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b="1" cap="none" spc="0" dirty="0">
                <a:ln w="0"/>
                <a:solidFill>
                  <a:schemeClr val="accent6">
                    <a:lumMod val="75000"/>
                  </a:schemeClr>
                </a:solidFill>
              </a:rPr>
              <a:t>Data Qualit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b="1" dirty="0">
                <a:ln w="0"/>
                <a:solidFill>
                  <a:schemeClr val="accent6">
                    <a:lumMod val="75000"/>
                  </a:schemeClr>
                </a:solidFill>
              </a:rPr>
              <a:t>Data Mapp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b="1" dirty="0">
                <a:ln w="0"/>
                <a:solidFill>
                  <a:schemeClr val="accent6">
                    <a:lumMod val="75000"/>
                  </a:schemeClr>
                </a:solidFill>
              </a:rPr>
              <a:t>Changes in Operations </a:t>
            </a:r>
          </a:p>
          <a:p>
            <a:pPr algn="ctr"/>
            <a:endParaRPr lang="en-US" sz="5400" b="1" cap="none" spc="0" dirty="0">
              <a:ln w="0"/>
              <a:solidFill>
                <a:schemeClr val="accent6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65043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001231-4900-4EF3-97BD-D4C397036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71845"/>
          </a:xfrm>
        </p:spPr>
        <p:txBody>
          <a:bodyPr/>
          <a:lstStyle/>
          <a:p>
            <a:r>
              <a:rPr lang="en-US" b="1" dirty="0">
                <a:solidFill>
                  <a:srgbClr val="40B83A"/>
                </a:solidFill>
                <a:latin typeface="+mn-lt"/>
              </a:rPr>
              <a:t>Enterprise Green Architec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9DC6DF-24C0-41EC-A522-4C36B5989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ugust 2021</a:t>
            </a:r>
            <a:endParaRPr lang="en-US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FE3A9571-2C89-40D3-A977-B827063CBE6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91052" y="1536970"/>
            <a:ext cx="9940636" cy="4351338"/>
          </a:xfrm>
        </p:spPr>
      </p:pic>
    </p:spTree>
    <p:extLst>
      <p:ext uri="{BB962C8B-B14F-4D97-AF65-F5344CB8AC3E}">
        <p14:creationId xmlns:p14="http://schemas.microsoft.com/office/powerpoint/2010/main" val="23746065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16020D-C36F-42EC-9C2B-3CB22BED8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0CE2A61-4C3C-41AC-99FA-D6AD7DC8A205}"/>
              </a:ext>
            </a:extLst>
          </p:cNvPr>
          <p:cNvSpPr/>
          <p:nvPr/>
        </p:nvSpPr>
        <p:spPr>
          <a:xfrm>
            <a:off x="4348726" y="2607411"/>
            <a:ext cx="363073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337274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715" y="-73114"/>
            <a:ext cx="10744200" cy="850169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rgbClr val="FF0000"/>
                </a:solidFill>
                <a:latin typeface="+mn-lt"/>
              </a:rPr>
              <a:t>TAXONOMY</a:t>
            </a:r>
            <a:r>
              <a:rPr lang="en-US" sz="2800" b="1" dirty="0">
                <a:latin typeface="+mn-lt"/>
              </a:rPr>
              <a:t> OF MACHINE LEARNING METHODOLOGIES IN LOGISTIC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57398" y="6402620"/>
            <a:ext cx="3576793" cy="365125"/>
          </a:xfrm>
        </p:spPr>
        <p:txBody>
          <a:bodyPr/>
          <a:lstStyle/>
          <a:p>
            <a:r>
              <a:rPr lang="en-US" dirty="0"/>
              <a:t>CEVA Machine Learning Capability Presentation – April 2020</a:t>
            </a:r>
          </a:p>
        </p:txBody>
      </p:sp>
      <p:sp>
        <p:nvSpPr>
          <p:cNvPr id="4" name="Oval 3"/>
          <p:cNvSpPr/>
          <p:nvPr/>
        </p:nvSpPr>
        <p:spPr>
          <a:xfrm>
            <a:off x="5295900" y="2144811"/>
            <a:ext cx="2442575" cy="2329841"/>
          </a:xfrm>
          <a:prstGeom prst="ellipse">
            <a:avLst/>
          </a:prstGeom>
          <a:solidFill>
            <a:srgbClr val="9F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Arial Black" panose="020B0A04020102020204" pitchFamily="34" charset="0"/>
              </a:rPr>
              <a:t>Machine Learning</a:t>
            </a:r>
          </a:p>
        </p:txBody>
      </p:sp>
      <p:sp>
        <p:nvSpPr>
          <p:cNvPr id="5" name="Oval 4"/>
          <p:cNvSpPr/>
          <p:nvPr/>
        </p:nvSpPr>
        <p:spPr>
          <a:xfrm>
            <a:off x="3350201" y="2572846"/>
            <a:ext cx="1450930" cy="1418573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upervised Learning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&lt; 5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Yr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2013322" y="1824500"/>
            <a:ext cx="1231700" cy="1199042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Regression</a:t>
            </a:r>
          </a:p>
        </p:txBody>
      </p:sp>
      <p:sp>
        <p:nvSpPr>
          <p:cNvPr id="7" name="Oval 6"/>
          <p:cNvSpPr/>
          <p:nvPr/>
        </p:nvSpPr>
        <p:spPr>
          <a:xfrm>
            <a:off x="2081343" y="1155370"/>
            <a:ext cx="377906" cy="39190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3415926" y="2057058"/>
            <a:ext cx="377900" cy="367616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1593503" y="1609161"/>
            <a:ext cx="377906" cy="39190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7714073" y="3287100"/>
            <a:ext cx="512006" cy="1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endCxn id="4" idx="2"/>
          </p:cNvCxnSpPr>
          <p:nvPr/>
        </p:nvCxnSpPr>
        <p:spPr>
          <a:xfrm>
            <a:off x="4783895" y="3309731"/>
            <a:ext cx="512005" cy="1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125024" y="2732422"/>
            <a:ext cx="317161" cy="201101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cxnSpLocks/>
          </p:cNvCxnSpPr>
          <p:nvPr/>
        </p:nvCxnSpPr>
        <p:spPr>
          <a:xfrm flipH="1" flipV="1">
            <a:off x="2336440" y="1547275"/>
            <a:ext cx="120902" cy="43701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3180348" y="2326328"/>
            <a:ext cx="283118" cy="139365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769164" y="668098"/>
            <a:ext cx="11392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Demand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Forecasting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704168" y="1890678"/>
            <a:ext cx="11801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Manpower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Optimizatio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1891335" y="1883991"/>
            <a:ext cx="263026" cy="214001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2647658" y="2865319"/>
            <a:ext cx="957" cy="485766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138529" y="3616470"/>
            <a:ext cx="11192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Cash Flow 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Forecasting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78865" y="6238180"/>
            <a:ext cx="15584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highlight>
                  <a:srgbClr val="FBFCC0"/>
                </a:highlight>
              </a:rPr>
              <a:t>Hub Optimization</a:t>
            </a:r>
          </a:p>
        </p:txBody>
      </p:sp>
      <p:sp>
        <p:nvSpPr>
          <p:cNvPr id="21" name="Oval 20"/>
          <p:cNvSpPr/>
          <p:nvPr/>
        </p:nvSpPr>
        <p:spPr>
          <a:xfrm>
            <a:off x="2469733" y="3267721"/>
            <a:ext cx="377906" cy="39190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558424" y="1114633"/>
            <a:ext cx="138025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Sea/Air Freight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Rate &amp; Volume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Forecast</a:t>
            </a:r>
          </a:p>
        </p:txBody>
      </p:sp>
      <p:sp>
        <p:nvSpPr>
          <p:cNvPr id="23" name="Oval 22"/>
          <p:cNvSpPr/>
          <p:nvPr/>
        </p:nvSpPr>
        <p:spPr>
          <a:xfrm>
            <a:off x="1799772" y="3136453"/>
            <a:ext cx="377906" cy="39190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Connector 23"/>
          <p:cNvCxnSpPr>
            <a:stCxn id="23" idx="7"/>
          </p:cNvCxnSpPr>
          <p:nvPr/>
        </p:nvCxnSpPr>
        <p:spPr>
          <a:xfrm flipV="1">
            <a:off x="2122335" y="2887088"/>
            <a:ext cx="208124" cy="306758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831383" y="3000446"/>
            <a:ext cx="109331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Warehouse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Restocking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Module</a:t>
            </a:r>
          </a:p>
        </p:txBody>
      </p:sp>
      <p:sp>
        <p:nvSpPr>
          <p:cNvPr id="26" name="Oval 25"/>
          <p:cNvSpPr/>
          <p:nvPr/>
        </p:nvSpPr>
        <p:spPr>
          <a:xfrm>
            <a:off x="1457944" y="2473414"/>
            <a:ext cx="377906" cy="39190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/>
          <p:cNvCxnSpPr/>
          <p:nvPr/>
        </p:nvCxnSpPr>
        <p:spPr>
          <a:xfrm flipV="1">
            <a:off x="1782456" y="2499956"/>
            <a:ext cx="395343" cy="14701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2938518" y="832691"/>
            <a:ext cx="7906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Freight 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Index</a:t>
            </a:r>
          </a:p>
        </p:txBody>
      </p:sp>
      <p:sp>
        <p:nvSpPr>
          <p:cNvPr id="29" name="Oval 28"/>
          <p:cNvSpPr/>
          <p:nvPr/>
        </p:nvSpPr>
        <p:spPr>
          <a:xfrm>
            <a:off x="5840907" y="4666101"/>
            <a:ext cx="1370561" cy="1347956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Reinforcement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&gt; 5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Yr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5302802" y="5166805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Oval 30"/>
          <p:cNvSpPr/>
          <p:nvPr/>
        </p:nvSpPr>
        <p:spPr>
          <a:xfrm>
            <a:off x="7364653" y="5152009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408347" y="5358350"/>
            <a:ext cx="118013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Margin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Optimization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Model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41768" y="4708251"/>
            <a:ext cx="9554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err="1">
                <a:solidFill>
                  <a:srgbClr val="FF7C80"/>
                </a:solidFill>
              </a:rPr>
              <a:t>Waveless</a:t>
            </a:r>
            <a:endParaRPr lang="en-US" sz="1400" dirty="0">
              <a:solidFill>
                <a:srgbClr val="FF7C80"/>
              </a:solidFill>
            </a:endParaRP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Ops</a:t>
            </a:r>
          </a:p>
        </p:txBody>
      </p:sp>
      <p:cxnSp>
        <p:nvCxnSpPr>
          <p:cNvPr id="34" name="Straight Connector 33"/>
          <p:cNvCxnSpPr/>
          <p:nvPr/>
        </p:nvCxnSpPr>
        <p:spPr>
          <a:xfrm flipV="1">
            <a:off x="5606201" y="5321001"/>
            <a:ext cx="301084" cy="12744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7130946" y="5358350"/>
            <a:ext cx="248459" cy="7277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6517187" y="4439765"/>
            <a:ext cx="9324" cy="320622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531730" y="4323754"/>
            <a:ext cx="17860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highlight>
                  <a:srgbClr val="FBFCC0"/>
                </a:highlight>
              </a:rPr>
              <a:t>Order Risk Forecast</a:t>
            </a:r>
          </a:p>
        </p:txBody>
      </p:sp>
      <p:sp>
        <p:nvSpPr>
          <p:cNvPr id="38" name="Oval 37"/>
          <p:cNvSpPr/>
          <p:nvPr/>
        </p:nvSpPr>
        <p:spPr>
          <a:xfrm>
            <a:off x="3165291" y="1491386"/>
            <a:ext cx="377906" cy="41551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>
          <a:xfrm flipV="1">
            <a:off x="3058085" y="1689973"/>
            <a:ext cx="317759" cy="372596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416707" y="1434729"/>
            <a:ext cx="12882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Smart Pricing</a:t>
            </a:r>
          </a:p>
        </p:txBody>
      </p:sp>
      <p:sp>
        <p:nvSpPr>
          <p:cNvPr id="42" name="Oval 41"/>
          <p:cNvSpPr/>
          <p:nvPr/>
        </p:nvSpPr>
        <p:spPr>
          <a:xfrm>
            <a:off x="2471029" y="4568105"/>
            <a:ext cx="1137780" cy="114821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Classification</a:t>
            </a:r>
          </a:p>
        </p:txBody>
      </p:sp>
      <p:sp>
        <p:nvSpPr>
          <p:cNvPr id="43" name="Oval 42"/>
          <p:cNvSpPr/>
          <p:nvPr/>
        </p:nvSpPr>
        <p:spPr>
          <a:xfrm>
            <a:off x="3615153" y="4392740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/>
          <p:cNvSpPr/>
          <p:nvPr/>
        </p:nvSpPr>
        <p:spPr>
          <a:xfrm>
            <a:off x="2774381" y="5951944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/>
          <p:cNvSpPr/>
          <p:nvPr/>
        </p:nvSpPr>
        <p:spPr>
          <a:xfrm>
            <a:off x="2185026" y="4381889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/>
          <p:cNvSpPr/>
          <p:nvPr/>
        </p:nvSpPr>
        <p:spPr>
          <a:xfrm>
            <a:off x="1963808" y="4970290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Connector 46"/>
          <p:cNvCxnSpPr/>
          <p:nvPr/>
        </p:nvCxnSpPr>
        <p:spPr>
          <a:xfrm flipV="1">
            <a:off x="2999354" y="3782968"/>
            <a:ext cx="668930" cy="867659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4073884" y="5082529"/>
            <a:ext cx="9605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FF7C80"/>
                </a:solidFill>
              </a:rPr>
              <a:t>Customer</a:t>
            </a:r>
          </a:p>
          <a:p>
            <a:r>
              <a:rPr lang="en-US" sz="1400" dirty="0">
                <a:solidFill>
                  <a:srgbClr val="FF7C80"/>
                </a:solidFill>
              </a:rPr>
              <a:t>Retention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H="1">
            <a:off x="3443717" y="4670337"/>
            <a:ext cx="199934" cy="18010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endCxn id="44" idx="0"/>
          </p:cNvCxnSpPr>
          <p:nvPr/>
        </p:nvCxnSpPr>
        <p:spPr>
          <a:xfrm flipH="1">
            <a:off x="2943482" y="5643302"/>
            <a:ext cx="6423" cy="308642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3726863" y="5875788"/>
            <a:ext cx="9605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Customer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Rating</a:t>
            </a:r>
          </a:p>
        </p:txBody>
      </p:sp>
      <p:cxnSp>
        <p:nvCxnSpPr>
          <p:cNvPr id="52" name="Straight Connector 51"/>
          <p:cNvCxnSpPr/>
          <p:nvPr/>
        </p:nvCxnSpPr>
        <p:spPr>
          <a:xfrm flipH="1" flipV="1">
            <a:off x="2492801" y="4629808"/>
            <a:ext cx="226028" cy="210059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493641" y="4953608"/>
            <a:ext cx="151034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2"/>
                </a:solidFill>
                <a:highlight>
                  <a:srgbClr val="FBFCC0"/>
                </a:highlight>
              </a:rPr>
              <a:t>Freight Movement</a:t>
            </a:r>
          </a:p>
          <a:p>
            <a:pPr algn="ctr"/>
            <a:r>
              <a:rPr lang="en-US" sz="1200" b="1" dirty="0">
                <a:solidFill>
                  <a:schemeClr val="accent2"/>
                </a:solidFill>
                <a:highlight>
                  <a:srgbClr val="FBFCC0"/>
                </a:highlight>
              </a:rPr>
              <a:t>Consolidation </a:t>
            </a:r>
          </a:p>
          <a:p>
            <a:pPr algn="ctr"/>
            <a:r>
              <a:rPr lang="en-US" sz="1200" b="1" dirty="0">
                <a:solidFill>
                  <a:schemeClr val="accent2"/>
                </a:solidFill>
                <a:highlight>
                  <a:srgbClr val="FBFCC0"/>
                </a:highlight>
              </a:rPr>
              <a:t>&amp; Optimization</a:t>
            </a:r>
          </a:p>
        </p:txBody>
      </p:sp>
      <p:cxnSp>
        <p:nvCxnSpPr>
          <p:cNvPr id="54" name="Straight Connector 53"/>
          <p:cNvCxnSpPr>
            <a:stCxn id="42" idx="2"/>
            <a:endCxn id="46" idx="6"/>
          </p:cNvCxnSpPr>
          <p:nvPr/>
        </p:nvCxnSpPr>
        <p:spPr>
          <a:xfrm flipH="1">
            <a:off x="2302009" y="5142215"/>
            <a:ext cx="169020" cy="344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/>
          <p:cNvSpPr/>
          <p:nvPr/>
        </p:nvSpPr>
        <p:spPr>
          <a:xfrm>
            <a:off x="3528447" y="5665118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6" name="Straight Connector 55"/>
          <p:cNvCxnSpPr>
            <a:stCxn id="55" idx="1"/>
            <a:endCxn id="42" idx="5"/>
          </p:cNvCxnSpPr>
          <p:nvPr/>
        </p:nvCxnSpPr>
        <p:spPr>
          <a:xfrm flipH="1" flipV="1">
            <a:off x="3442185" y="5548171"/>
            <a:ext cx="135790" cy="16831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H="1" flipV="1">
            <a:off x="3554944" y="5186848"/>
            <a:ext cx="318043" cy="12489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/>
          <p:cNvSpPr/>
          <p:nvPr/>
        </p:nvSpPr>
        <p:spPr>
          <a:xfrm>
            <a:off x="3814465" y="5065365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/>
          <p:cNvSpPr txBox="1"/>
          <p:nvPr/>
        </p:nvSpPr>
        <p:spPr>
          <a:xfrm>
            <a:off x="3889207" y="4259236"/>
            <a:ext cx="136928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FF7C80"/>
                </a:solidFill>
              </a:rPr>
              <a:t>New Customer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Pricing Tiers</a:t>
            </a:r>
          </a:p>
        </p:txBody>
      </p:sp>
      <p:cxnSp>
        <p:nvCxnSpPr>
          <p:cNvPr id="60" name="Straight Connector 59"/>
          <p:cNvCxnSpPr>
            <a:endCxn id="61" idx="7"/>
          </p:cNvCxnSpPr>
          <p:nvPr/>
        </p:nvCxnSpPr>
        <p:spPr>
          <a:xfrm flipH="1">
            <a:off x="2433948" y="5397738"/>
            <a:ext cx="335677" cy="241616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/>
          <p:cNvSpPr/>
          <p:nvPr/>
        </p:nvSpPr>
        <p:spPr>
          <a:xfrm>
            <a:off x="2145275" y="5587991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/>
        </p:nvSpPr>
        <p:spPr>
          <a:xfrm>
            <a:off x="605935" y="5730616"/>
            <a:ext cx="17769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highlight>
                  <a:srgbClr val="FBFCC0"/>
                </a:highlight>
              </a:rPr>
              <a:t>Carrier  Advisor</a:t>
            </a:r>
          </a:p>
        </p:txBody>
      </p:sp>
      <p:sp>
        <p:nvSpPr>
          <p:cNvPr id="63" name="Oval 62"/>
          <p:cNvSpPr/>
          <p:nvPr/>
        </p:nvSpPr>
        <p:spPr>
          <a:xfrm>
            <a:off x="8154504" y="2647544"/>
            <a:ext cx="1376819" cy="1359074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Unsupervised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&gt; 5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Yr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Oval 63"/>
          <p:cNvSpPr/>
          <p:nvPr/>
        </p:nvSpPr>
        <p:spPr>
          <a:xfrm>
            <a:off x="9567644" y="4049987"/>
            <a:ext cx="1102290" cy="1073063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Clustering</a:t>
            </a:r>
          </a:p>
        </p:txBody>
      </p:sp>
      <p:sp>
        <p:nvSpPr>
          <p:cNvPr id="65" name="Oval 64"/>
          <p:cNvSpPr/>
          <p:nvPr/>
        </p:nvSpPr>
        <p:spPr>
          <a:xfrm>
            <a:off x="8304317" y="1400129"/>
            <a:ext cx="1102290" cy="1073063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Dimensionality</a:t>
            </a:r>
          </a:p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Reduction</a:t>
            </a:r>
          </a:p>
        </p:txBody>
      </p:sp>
      <p:sp>
        <p:nvSpPr>
          <p:cNvPr id="66" name="Oval 65"/>
          <p:cNvSpPr/>
          <p:nvPr/>
        </p:nvSpPr>
        <p:spPr>
          <a:xfrm>
            <a:off x="10658170" y="5157387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/>
          <p:cNvSpPr/>
          <p:nvPr/>
        </p:nvSpPr>
        <p:spPr>
          <a:xfrm>
            <a:off x="9599640" y="5377632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/>
          <p:cNvSpPr/>
          <p:nvPr/>
        </p:nvSpPr>
        <p:spPr>
          <a:xfrm>
            <a:off x="8914960" y="4463515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/>
          <p:cNvSpPr/>
          <p:nvPr/>
        </p:nvSpPr>
        <p:spPr>
          <a:xfrm>
            <a:off x="9482695" y="1990167"/>
            <a:ext cx="377481" cy="311622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/>
          <p:cNvSpPr/>
          <p:nvPr/>
        </p:nvSpPr>
        <p:spPr>
          <a:xfrm>
            <a:off x="9231477" y="1081468"/>
            <a:ext cx="377481" cy="311622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/>
          <p:cNvSpPr/>
          <p:nvPr/>
        </p:nvSpPr>
        <p:spPr>
          <a:xfrm>
            <a:off x="7797144" y="1936230"/>
            <a:ext cx="377481" cy="311622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/>
          <p:cNvSpPr/>
          <p:nvPr/>
        </p:nvSpPr>
        <p:spPr>
          <a:xfrm>
            <a:off x="11037815" y="4411153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3" name="Straight Connector 72"/>
          <p:cNvCxnSpPr>
            <a:endCxn id="65" idx="4"/>
          </p:cNvCxnSpPr>
          <p:nvPr/>
        </p:nvCxnSpPr>
        <p:spPr>
          <a:xfrm flipH="1" flipV="1">
            <a:off x="8855462" y="2473192"/>
            <a:ext cx="12527" cy="460331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H="1" flipV="1">
            <a:off x="9103959" y="3919289"/>
            <a:ext cx="595106" cy="345571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10218153" y="5448806"/>
            <a:ext cx="15167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FF7C80"/>
                </a:solidFill>
              </a:rPr>
              <a:t>Lead Generation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9001332" y="5784805"/>
            <a:ext cx="16979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Customer Decision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Behavior</a:t>
            </a:r>
          </a:p>
        </p:txBody>
      </p:sp>
      <p:cxnSp>
        <p:nvCxnSpPr>
          <p:cNvPr id="77" name="Straight Connector 76"/>
          <p:cNvCxnSpPr/>
          <p:nvPr/>
        </p:nvCxnSpPr>
        <p:spPr>
          <a:xfrm>
            <a:off x="10377596" y="5013487"/>
            <a:ext cx="336552" cy="222321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 flipH="1">
            <a:off x="9813455" y="5064027"/>
            <a:ext cx="101798" cy="324754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 flipH="1">
            <a:off x="9227152" y="4596439"/>
            <a:ext cx="458782" cy="42441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stCxn id="64" idx="6"/>
            <a:endCxn id="72" idx="2"/>
          </p:cNvCxnSpPr>
          <p:nvPr/>
        </p:nvCxnSpPr>
        <p:spPr>
          <a:xfrm flipV="1">
            <a:off x="10669934" y="4586518"/>
            <a:ext cx="367881" cy="1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 flipH="1" flipV="1">
            <a:off x="8099141" y="2103913"/>
            <a:ext cx="312291" cy="10629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H="1">
            <a:off x="9103959" y="1329643"/>
            <a:ext cx="246387" cy="208139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69" idx="2"/>
          </p:cNvCxnSpPr>
          <p:nvPr/>
        </p:nvCxnSpPr>
        <p:spPr>
          <a:xfrm flipH="1" flipV="1">
            <a:off x="9295635" y="2140663"/>
            <a:ext cx="187060" cy="5315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8332537" y="4429646"/>
            <a:ext cx="7425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Data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Quality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11200325" y="4227107"/>
            <a:ext cx="92044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highlight>
                  <a:srgbClr val="FBFCC0"/>
                </a:highlight>
              </a:rPr>
              <a:t>Carrier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  <a:highlight>
                  <a:srgbClr val="FBFCC0"/>
                </a:highlight>
              </a:rPr>
              <a:t>Fuzzy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  <a:highlight>
                  <a:srgbClr val="FBFCC0"/>
                </a:highlight>
              </a:rPr>
              <a:t>Grouping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9413992" y="795071"/>
            <a:ext cx="123944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Feedbacks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Comments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Meaningful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Compression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9089185" y="2270822"/>
            <a:ext cx="12891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Customer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Segmentation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7376035" y="2162986"/>
            <a:ext cx="11880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Big Data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Visualization</a:t>
            </a:r>
          </a:p>
        </p:txBody>
      </p:sp>
      <p:cxnSp>
        <p:nvCxnSpPr>
          <p:cNvPr id="89" name="Straight Connector 88"/>
          <p:cNvCxnSpPr>
            <a:stCxn id="65" idx="1"/>
          </p:cNvCxnSpPr>
          <p:nvPr/>
        </p:nvCxnSpPr>
        <p:spPr>
          <a:xfrm flipH="1" flipV="1">
            <a:off x="8278428" y="1398982"/>
            <a:ext cx="187316" cy="158293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val 89"/>
          <p:cNvSpPr/>
          <p:nvPr/>
        </p:nvSpPr>
        <p:spPr>
          <a:xfrm>
            <a:off x="8017851" y="1198533"/>
            <a:ext cx="377481" cy="311622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TextBox 90"/>
          <p:cNvSpPr txBox="1"/>
          <p:nvPr/>
        </p:nvSpPr>
        <p:spPr>
          <a:xfrm>
            <a:off x="7683312" y="727203"/>
            <a:ext cx="12891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FF7C80"/>
                </a:solidFill>
              </a:rPr>
              <a:t>Carrier</a:t>
            </a:r>
          </a:p>
          <a:p>
            <a:pPr algn="ctr"/>
            <a:r>
              <a:rPr lang="en-US" sz="1400" dirty="0">
                <a:solidFill>
                  <a:srgbClr val="FF7C80"/>
                </a:solidFill>
              </a:rPr>
              <a:t>Segmentation</a:t>
            </a: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9FD75183-DC4A-4B07-8FF3-905FBBD6C829}"/>
              </a:ext>
            </a:extLst>
          </p:cNvPr>
          <p:cNvSpPr/>
          <p:nvPr/>
        </p:nvSpPr>
        <p:spPr>
          <a:xfrm>
            <a:off x="10561711" y="3665503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521C73C3-E0E1-4789-8B1A-01E8550E5D50}"/>
              </a:ext>
            </a:extLst>
          </p:cNvPr>
          <p:cNvCxnSpPr>
            <a:cxnSpLocks/>
          </p:cNvCxnSpPr>
          <p:nvPr/>
        </p:nvCxnSpPr>
        <p:spPr>
          <a:xfrm flipV="1">
            <a:off x="10334686" y="3948247"/>
            <a:ext cx="268620" cy="203479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CDCFC4BE-9A0E-401E-B884-8F3BCBE5102E}"/>
              </a:ext>
            </a:extLst>
          </p:cNvPr>
          <p:cNvSpPr txBox="1"/>
          <p:nvPr/>
        </p:nvSpPr>
        <p:spPr>
          <a:xfrm>
            <a:off x="10825180" y="3267721"/>
            <a:ext cx="92044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  <a:highlight>
                  <a:srgbClr val="FBFCC0"/>
                </a:highlight>
              </a:rPr>
              <a:t>Location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  <a:highlight>
                  <a:srgbClr val="FBFCC0"/>
                </a:highlight>
              </a:rPr>
              <a:t>Fuzzy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  <a:highlight>
                  <a:srgbClr val="FBFCC0"/>
                </a:highlight>
              </a:rPr>
              <a:t>Grouping</a:t>
            </a: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25A0D18F-E605-436E-A98B-FB4CBBB326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77326">
            <a:off x="631034" y="4241321"/>
            <a:ext cx="604257" cy="126684"/>
          </a:xfrm>
          <a:prstGeom prst="rect">
            <a:avLst/>
          </a:prstGeom>
        </p:spPr>
      </p:pic>
      <p:sp>
        <p:nvSpPr>
          <p:cNvPr id="102" name="Oval 101">
            <a:extLst>
              <a:ext uri="{FF2B5EF4-FFF2-40B4-BE49-F238E27FC236}">
                <a16:creationId xmlns:a16="http://schemas.microsoft.com/office/drawing/2014/main" id="{BB9454F1-C537-4193-97FC-4F83857E6D9E}"/>
              </a:ext>
            </a:extLst>
          </p:cNvPr>
          <p:cNvSpPr/>
          <p:nvPr/>
        </p:nvSpPr>
        <p:spPr>
          <a:xfrm>
            <a:off x="2658686" y="1239860"/>
            <a:ext cx="377906" cy="415510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40654760-29C9-4E9F-ABA5-E274E68ECCEE}"/>
              </a:ext>
            </a:extLst>
          </p:cNvPr>
          <p:cNvCxnSpPr>
            <a:cxnSpLocks/>
          </p:cNvCxnSpPr>
          <p:nvPr/>
        </p:nvCxnSpPr>
        <p:spPr>
          <a:xfrm flipV="1">
            <a:off x="2747409" y="1486121"/>
            <a:ext cx="128493" cy="422624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5DA2D2C4-3178-488B-8EDE-93239CE36191}"/>
              </a:ext>
            </a:extLst>
          </p:cNvPr>
          <p:cNvSpPr txBox="1"/>
          <p:nvPr/>
        </p:nvSpPr>
        <p:spPr>
          <a:xfrm>
            <a:off x="69629" y="2337496"/>
            <a:ext cx="15542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7693D"/>
                </a:solidFill>
              </a:rPr>
              <a:t>Green Freight</a:t>
            </a:r>
          </a:p>
          <a:p>
            <a:pPr algn="ctr"/>
            <a:r>
              <a:rPr lang="en-US" sz="1400" dirty="0">
                <a:solidFill>
                  <a:srgbClr val="07693D"/>
                </a:solidFill>
              </a:rPr>
              <a:t>CO2 Emission</a:t>
            </a:r>
          </a:p>
        </p:txBody>
      </p:sp>
      <p:pic>
        <p:nvPicPr>
          <p:cNvPr id="111" name="Picture 110">
            <a:extLst>
              <a:ext uri="{FF2B5EF4-FFF2-40B4-BE49-F238E27FC236}">
                <a16:creationId xmlns:a16="http://schemas.microsoft.com/office/drawing/2014/main" id="{AD8FA510-FD7C-4297-9A60-9A2C313C37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77326">
            <a:off x="10680358" y="3217344"/>
            <a:ext cx="632025" cy="132506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9E3A1EE6-2778-425F-9575-B8E06A6956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77326">
            <a:off x="11139359" y="4161379"/>
            <a:ext cx="632025" cy="132506"/>
          </a:xfrm>
          <a:prstGeom prst="rect">
            <a:avLst/>
          </a:prstGeom>
        </p:spPr>
      </p:pic>
      <p:pic>
        <p:nvPicPr>
          <p:cNvPr id="113" name="Picture 112">
            <a:extLst>
              <a:ext uri="{FF2B5EF4-FFF2-40B4-BE49-F238E27FC236}">
                <a16:creationId xmlns:a16="http://schemas.microsoft.com/office/drawing/2014/main" id="{4708216A-25F8-42D2-A26D-1CD941A798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77326">
            <a:off x="1995415" y="6182493"/>
            <a:ext cx="604257" cy="126684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D9BD025B-5C8E-4D95-A4F1-D2B2AEF6E0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77326">
            <a:off x="573522" y="5693045"/>
            <a:ext cx="604257" cy="126684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E6EAE0FA-6FF2-428F-B999-1433C0E145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77326">
            <a:off x="263562" y="4868109"/>
            <a:ext cx="604257" cy="126684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09C97FF1-7089-4AB0-AE20-7068699952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77326">
            <a:off x="254771" y="2260762"/>
            <a:ext cx="604257" cy="126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146288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228601"/>
            <a:ext cx="10744200" cy="457596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rgbClr val="FF0000"/>
                </a:solidFill>
                <a:latin typeface="+mn-lt"/>
              </a:rPr>
              <a:t>TAXONOMY</a:t>
            </a:r>
            <a:r>
              <a:rPr lang="en-US" sz="2800" b="1" dirty="0">
                <a:latin typeface="+mn-lt"/>
              </a:rPr>
              <a:t> OF MACHINE LEARNING ALGORITHMS IN LOGISTIC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51367" y="6251475"/>
            <a:ext cx="3576793" cy="365125"/>
          </a:xfrm>
        </p:spPr>
        <p:txBody>
          <a:bodyPr/>
          <a:lstStyle/>
          <a:p>
            <a:r>
              <a:rPr lang="en-US" dirty="0"/>
              <a:t>CEVA Machine Learning Capability Presentation – April 2020</a:t>
            </a:r>
          </a:p>
        </p:txBody>
      </p:sp>
      <p:sp>
        <p:nvSpPr>
          <p:cNvPr id="4" name="Oval 3"/>
          <p:cNvSpPr/>
          <p:nvPr/>
        </p:nvSpPr>
        <p:spPr>
          <a:xfrm>
            <a:off x="5295900" y="2144811"/>
            <a:ext cx="2442575" cy="2329841"/>
          </a:xfrm>
          <a:prstGeom prst="ellipse">
            <a:avLst/>
          </a:prstGeom>
          <a:solidFill>
            <a:srgbClr val="9F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Arial Black" panose="020B0A04020102020204" pitchFamily="34" charset="0"/>
              </a:rPr>
              <a:t>Machine Learning</a:t>
            </a:r>
          </a:p>
        </p:txBody>
      </p:sp>
      <p:sp>
        <p:nvSpPr>
          <p:cNvPr id="5" name="Oval 4"/>
          <p:cNvSpPr/>
          <p:nvPr/>
        </p:nvSpPr>
        <p:spPr>
          <a:xfrm>
            <a:off x="3350201" y="2572846"/>
            <a:ext cx="1450930" cy="1418573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upervised Learning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&lt; 5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Yr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2013322" y="1824500"/>
            <a:ext cx="1231700" cy="1199042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Regression</a:t>
            </a:r>
          </a:p>
        </p:txBody>
      </p:sp>
      <p:sp>
        <p:nvSpPr>
          <p:cNvPr id="7" name="Oval 6"/>
          <p:cNvSpPr/>
          <p:nvPr/>
        </p:nvSpPr>
        <p:spPr>
          <a:xfrm>
            <a:off x="2429736" y="1119290"/>
            <a:ext cx="377906" cy="39190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3403133" y="1897912"/>
            <a:ext cx="432963" cy="367616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1593503" y="1609161"/>
            <a:ext cx="377906" cy="39190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7714073" y="3287100"/>
            <a:ext cx="512006" cy="1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endCxn id="4" idx="2"/>
          </p:cNvCxnSpPr>
          <p:nvPr/>
        </p:nvCxnSpPr>
        <p:spPr>
          <a:xfrm>
            <a:off x="4783895" y="3309731"/>
            <a:ext cx="512005" cy="1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125024" y="2732422"/>
            <a:ext cx="317161" cy="201101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 flipV="1">
            <a:off x="2638541" y="1432441"/>
            <a:ext cx="8110" cy="516299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3160750" y="2137636"/>
            <a:ext cx="283118" cy="139365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013322" y="620468"/>
            <a:ext cx="11392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Demand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Forecasting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781483" y="1751893"/>
            <a:ext cx="11282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Manpower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Optimizatio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1891335" y="1883991"/>
            <a:ext cx="263026" cy="214001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2647658" y="2865319"/>
            <a:ext cx="957" cy="485766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188350" y="3616470"/>
            <a:ext cx="10195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Cash Flow 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Forecasting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189947" y="6220852"/>
            <a:ext cx="15584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Hub Optimization</a:t>
            </a:r>
          </a:p>
        </p:txBody>
      </p:sp>
      <p:sp>
        <p:nvSpPr>
          <p:cNvPr id="21" name="Oval 20"/>
          <p:cNvSpPr/>
          <p:nvPr/>
        </p:nvSpPr>
        <p:spPr>
          <a:xfrm>
            <a:off x="2469733" y="3267721"/>
            <a:ext cx="377906" cy="39190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610362" y="1114633"/>
            <a:ext cx="127637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Sea/Air Freight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Rate &amp; Volume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Forecast</a:t>
            </a:r>
          </a:p>
        </p:txBody>
      </p:sp>
      <p:sp>
        <p:nvSpPr>
          <p:cNvPr id="23" name="Oval 22"/>
          <p:cNvSpPr/>
          <p:nvPr/>
        </p:nvSpPr>
        <p:spPr>
          <a:xfrm>
            <a:off x="1799772" y="3136453"/>
            <a:ext cx="377906" cy="39190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Connector 23"/>
          <p:cNvCxnSpPr>
            <a:stCxn id="23" idx="7"/>
          </p:cNvCxnSpPr>
          <p:nvPr/>
        </p:nvCxnSpPr>
        <p:spPr>
          <a:xfrm flipV="1">
            <a:off x="2122335" y="2887088"/>
            <a:ext cx="208124" cy="306758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868413" y="3000446"/>
            <a:ext cx="101925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Warehouse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Restocking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Module</a:t>
            </a:r>
          </a:p>
        </p:txBody>
      </p:sp>
      <p:sp>
        <p:nvSpPr>
          <p:cNvPr id="26" name="Oval 25"/>
          <p:cNvSpPr/>
          <p:nvPr/>
        </p:nvSpPr>
        <p:spPr>
          <a:xfrm>
            <a:off x="1457944" y="2473414"/>
            <a:ext cx="377906" cy="39190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/>
          <p:cNvCxnSpPr/>
          <p:nvPr/>
        </p:nvCxnSpPr>
        <p:spPr>
          <a:xfrm flipV="1">
            <a:off x="1782456" y="2499956"/>
            <a:ext cx="395343" cy="14701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872345" y="2265528"/>
            <a:ext cx="7368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Freight 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Index</a:t>
            </a:r>
          </a:p>
        </p:txBody>
      </p:sp>
      <p:sp>
        <p:nvSpPr>
          <p:cNvPr id="29" name="Oval 28"/>
          <p:cNvSpPr/>
          <p:nvPr/>
        </p:nvSpPr>
        <p:spPr>
          <a:xfrm>
            <a:off x="5840907" y="4666101"/>
            <a:ext cx="1370561" cy="1347956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Reinforcement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&gt; 5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Yr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5302802" y="5166805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Oval 30"/>
          <p:cNvSpPr/>
          <p:nvPr/>
        </p:nvSpPr>
        <p:spPr>
          <a:xfrm>
            <a:off x="7364653" y="5152009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434283" y="5358350"/>
            <a:ext cx="112825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Margin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Optimization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Model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09869" y="4688317"/>
            <a:ext cx="8646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err="1">
                <a:solidFill>
                  <a:schemeClr val="accent2"/>
                </a:solidFill>
              </a:rPr>
              <a:t>Waveless</a:t>
            </a:r>
            <a:endParaRPr lang="en-US" sz="1400" dirty="0">
              <a:solidFill>
                <a:schemeClr val="accent2"/>
              </a:solidFill>
            </a:endParaRP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Ops</a:t>
            </a:r>
          </a:p>
        </p:txBody>
      </p:sp>
      <p:cxnSp>
        <p:nvCxnSpPr>
          <p:cNvPr id="34" name="Straight Connector 33"/>
          <p:cNvCxnSpPr/>
          <p:nvPr/>
        </p:nvCxnSpPr>
        <p:spPr>
          <a:xfrm flipV="1">
            <a:off x="5606201" y="5321001"/>
            <a:ext cx="301084" cy="12744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7130946" y="5358350"/>
            <a:ext cx="248459" cy="7277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6517187" y="4439765"/>
            <a:ext cx="9324" cy="320622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3613198" y="6014057"/>
            <a:ext cx="18630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Supply Chain Modeling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Consultancy</a:t>
            </a:r>
          </a:p>
        </p:txBody>
      </p:sp>
      <p:sp>
        <p:nvSpPr>
          <p:cNvPr id="38" name="Oval 37"/>
          <p:cNvSpPr/>
          <p:nvPr/>
        </p:nvSpPr>
        <p:spPr>
          <a:xfrm>
            <a:off x="3105667" y="1265267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9" name="Straight Connector 38"/>
          <p:cNvCxnSpPr/>
          <p:nvPr/>
        </p:nvCxnSpPr>
        <p:spPr>
          <a:xfrm flipV="1">
            <a:off x="2888597" y="1523146"/>
            <a:ext cx="319327" cy="481197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278538" y="908054"/>
            <a:ext cx="12882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Dynamic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Smart Pricing</a:t>
            </a:r>
          </a:p>
        </p:txBody>
      </p:sp>
      <p:sp>
        <p:nvSpPr>
          <p:cNvPr id="42" name="Oval 41"/>
          <p:cNvSpPr/>
          <p:nvPr/>
        </p:nvSpPr>
        <p:spPr>
          <a:xfrm>
            <a:off x="2471029" y="4568105"/>
            <a:ext cx="1137780" cy="114821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Classification</a:t>
            </a:r>
          </a:p>
        </p:txBody>
      </p:sp>
      <p:sp>
        <p:nvSpPr>
          <p:cNvPr id="43" name="Oval 42"/>
          <p:cNvSpPr/>
          <p:nvPr/>
        </p:nvSpPr>
        <p:spPr>
          <a:xfrm>
            <a:off x="3615153" y="4392740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/>
          <p:cNvSpPr/>
          <p:nvPr/>
        </p:nvSpPr>
        <p:spPr>
          <a:xfrm>
            <a:off x="2774381" y="5951944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/>
          <p:cNvSpPr/>
          <p:nvPr/>
        </p:nvSpPr>
        <p:spPr>
          <a:xfrm>
            <a:off x="2185026" y="4381889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/>
          <p:cNvSpPr/>
          <p:nvPr/>
        </p:nvSpPr>
        <p:spPr>
          <a:xfrm>
            <a:off x="1963808" y="4970290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Connector 46"/>
          <p:cNvCxnSpPr/>
          <p:nvPr/>
        </p:nvCxnSpPr>
        <p:spPr>
          <a:xfrm flipV="1">
            <a:off x="2999354" y="3782968"/>
            <a:ext cx="668930" cy="867659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4073884" y="5082529"/>
            <a:ext cx="9015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2"/>
                </a:solidFill>
              </a:rPr>
              <a:t>Customer</a:t>
            </a:r>
          </a:p>
          <a:p>
            <a:r>
              <a:rPr lang="en-US" sz="1400" dirty="0">
                <a:solidFill>
                  <a:schemeClr val="accent2"/>
                </a:solidFill>
              </a:rPr>
              <a:t>Retention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H="1">
            <a:off x="3443717" y="4670337"/>
            <a:ext cx="199934" cy="18010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endCxn id="44" idx="0"/>
          </p:cNvCxnSpPr>
          <p:nvPr/>
        </p:nvCxnSpPr>
        <p:spPr>
          <a:xfrm flipH="1">
            <a:off x="2943482" y="5643302"/>
            <a:ext cx="6423" cy="308642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1452049" y="4185031"/>
            <a:ext cx="8926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Customer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Rating</a:t>
            </a:r>
          </a:p>
        </p:txBody>
      </p:sp>
      <p:cxnSp>
        <p:nvCxnSpPr>
          <p:cNvPr id="52" name="Straight Connector 51"/>
          <p:cNvCxnSpPr/>
          <p:nvPr/>
        </p:nvCxnSpPr>
        <p:spPr>
          <a:xfrm flipH="1" flipV="1">
            <a:off x="2492801" y="4629808"/>
            <a:ext cx="226028" cy="210059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480523" y="4812864"/>
            <a:ext cx="154061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Freight Movement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Consolidation &amp;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Optimization</a:t>
            </a:r>
          </a:p>
        </p:txBody>
      </p:sp>
      <p:cxnSp>
        <p:nvCxnSpPr>
          <p:cNvPr id="54" name="Straight Connector 53"/>
          <p:cNvCxnSpPr>
            <a:stCxn id="42" idx="2"/>
            <a:endCxn id="46" idx="6"/>
          </p:cNvCxnSpPr>
          <p:nvPr/>
        </p:nvCxnSpPr>
        <p:spPr>
          <a:xfrm flipH="1">
            <a:off x="2302009" y="5142215"/>
            <a:ext cx="169020" cy="344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/>
          <p:cNvSpPr/>
          <p:nvPr/>
        </p:nvSpPr>
        <p:spPr>
          <a:xfrm>
            <a:off x="3528447" y="5665118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6" name="Straight Connector 55"/>
          <p:cNvCxnSpPr>
            <a:stCxn id="55" idx="1"/>
            <a:endCxn id="42" idx="5"/>
          </p:cNvCxnSpPr>
          <p:nvPr/>
        </p:nvCxnSpPr>
        <p:spPr>
          <a:xfrm flipH="1" flipV="1">
            <a:off x="3442185" y="5548171"/>
            <a:ext cx="135790" cy="16831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H="1" flipV="1">
            <a:off x="3554944" y="5186848"/>
            <a:ext cx="318043" cy="12489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/>
          <p:cNvSpPr/>
          <p:nvPr/>
        </p:nvSpPr>
        <p:spPr>
          <a:xfrm>
            <a:off x="3814465" y="5065365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/>
          <p:cNvSpPr txBox="1"/>
          <p:nvPr/>
        </p:nvSpPr>
        <p:spPr>
          <a:xfrm>
            <a:off x="3794294" y="4211617"/>
            <a:ext cx="12652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2"/>
                </a:solidFill>
              </a:rPr>
              <a:t>New Customer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Pricing Tiers</a:t>
            </a:r>
          </a:p>
        </p:txBody>
      </p:sp>
      <p:cxnSp>
        <p:nvCxnSpPr>
          <p:cNvPr id="60" name="Straight Connector 59"/>
          <p:cNvCxnSpPr>
            <a:endCxn id="61" idx="7"/>
          </p:cNvCxnSpPr>
          <p:nvPr/>
        </p:nvCxnSpPr>
        <p:spPr>
          <a:xfrm flipH="1">
            <a:off x="2433948" y="5397738"/>
            <a:ext cx="335677" cy="241616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/>
          <p:cNvSpPr/>
          <p:nvPr/>
        </p:nvSpPr>
        <p:spPr>
          <a:xfrm>
            <a:off x="2145275" y="5587991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/>
        </p:nvSpPr>
        <p:spPr>
          <a:xfrm>
            <a:off x="992703" y="5690334"/>
            <a:ext cx="17769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accent2"/>
                </a:solidFill>
              </a:rPr>
              <a:t>Carrier </a:t>
            </a:r>
          </a:p>
          <a:p>
            <a:pPr algn="ctr"/>
            <a:r>
              <a:rPr lang="en-US" sz="1400" b="1" dirty="0">
                <a:solidFill>
                  <a:schemeClr val="accent2"/>
                </a:solidFill>
              </a:rPr>
              <a:t>Ranking</a:t>
            </a:r>
          </a:p>
        </p:txBody>
      </p:sp>
      <p:sp>
        <p:nvSpPr>
          <p:cNvPr id="63" name="Oval 62"/>
          <p:cNvSpPr/>
          <p:nvPr/>
        </p:nvSpPr>
        <p:spPr>
          <a:xfrm>
            <a:off x="8154504" y="2647544"/>
            <a:ext cx="1376819" cy="1359074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Unsupervised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&gt; 5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Yrs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Oval 63"/>
          <p:cNvSpPr/>
          <p:nvPr/>
        </p:nvSpPr>
        <p:spPr>
          <a:xfrm>
            <a:off x="9567644" y="4049987"/>
            <a:ext cx="1102290" cy="1073063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Clustering</a:t>
            </a:r>
          </a:p>
        </p:txBody>
      </p:sp>
      <p:sp>
        <p:nvSpPr>
          <p:cNvPr id="65" name="Oval 64"/>
          <p:cNvSpPr/>
          <p:nvPr/>
        </p:nvSpPr>
        <p:spPr>
          <a:xfrm>
            <a:off x="8304317" y="1400129"/>
            <a:ext cx="1102290" cy="1073063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Dimensionality</a:t>
            </a:r>
          </a:p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Reduction</a:t>
            </a:r>
          </a:p>
        </p:txBody>
      </p:sp>
      <p:sp>
        <p:nvSpPr>
          <p:cNvPr id="66" name="Oval 65"/>
          <p:cNvSpPr/>
          <p:nvPr/>
        </p:nvSpPr>
        <p:spPr>
          <a:xfrm>
            <a:off x="10658170" y="5157387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/>
          <p:cNvSpPr/>
          <p:nvPr/>
        </p:nvSpPr>
        <p:spPr>
          <a:xfrm>
            <a:off x="9599640" y="5377632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/>
          <p:cNvSpPr/>
          <p:nvPr/>
        </p:nvSpPr>
        <p:spPr>
          <a:xfrm>
            <a:off x="8914960" y="4463515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68"/>
          <p:cNvSpPr/>
          <p:nvPr/>
        </p:nvSpPr>
        <p:spPr>
          <a:xfrm>
            <a:off x="9482695" y="1990167"/>
            <a:ext cx="377481" cy="311622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/>
          <p:cNvSpPr/>
          <p:nvPr/>
        </p:nvSpPr>
        <p:spPr>
          <a:xfrm>
            <a:off x="9231477" y="1081468"/>
            <a:ext cx="377481" cy="311622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/>
          <p:cNvSpPr/>
          <p:nvPr/>
        </p:nvSpPr>
        <p:spPr>
          <a:xfrm>
            <a:off x="7797144" y="1936230"/>
            <a:ext cx="377481" cy="311622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/>
          <p:cNvSpPr/>
          <p:nvPr/>
        </p:nvSpPr>
        <p:spPr>
          <a:xfrm>
            <a:off x="11037815" y="4411153"/>
            <a:ext cx="338201" cy="35072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3" name="Straight Connector 72"/>
          <p:cNvCxnSpPr>
            <a:endCxn id="65" idx="4"/>
          </p:cNvCxnSpPr>
          <p:nvPr/>
        </p:nvCxnSpPr>
        <p:spPr>
          <a:xfrm flipH="1" flipV="1">
            <a:off x="8855462" y="2473192"/>
            <a:ext cx="12527" cy="460331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H="1" flipV="1">
            <a:off x="9103959" y="3919289"/>
            <a:ext cx="595106" cy="345571"/>
          </a:xfrm>
          <a:prstGeom prst="line">
            <a:avLst/>
          </a:prstGeom>
          <a:ln w="1016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10218153" y="5448806"/>
            <a:ext cx="13944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2"/>
                </a:solidFill>
              </a:rPr>
              <a:t>Lead Generation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9074525" y="5784805"/>
            <a:ext cx="15515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Customer Decision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Behavior</a:t>
            </a:r>
          </a:p>
        </p:txBody>
      </p:sp>
      <p:cxnSp>
        <p:nvCxnSpPr>
          <p:cNvPr id="77" name="Straight Connector 76"/>
          <p:cNvCxnSpPr/>
          <p:nvPr/>
        </p:nvCxnSpPr>
        <p:spPr>
          <a:xfrm>
            <a:off x="10377596" y="5013487"/>
            <a:ext cx="336552" cy="222321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 flipH="1">
            <a:off x="9813455" y="5064027"/>
            <a:ext cx="101798" cy="324754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 flipH="1">
            <a:off x="9227152" y="4596439"/>
            <a:ext cx="458782" cy="42441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stCxn id="64" idx="6"/>
            <a:endCxn id="72" idx="2"/>
          </p:cNvCxnSpPr>
          <p:nvPr/>
        </p:nvCxnSpPr>
        <p:spPr>
          <a:xfrm flipV="1">
            <a:off x="10669934" y="4586518"/>
            <a:ext cx="367881" cy="1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 flipH="1" flipV="1">
            <a:off x="8099141" y="2103913"/>
            <a:ext cx="312291" cy="10629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H="1">
            <a:off x="9103959" y="1329643"/>
            <a:ext cx="246387" cy="208139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69" idx="2"/>
          </p:cNvCxnSpPr>
          <p:nvPr/>
        </p:nvCxnSpPr>
        <p:spPr>
          <a:xfrm flipH="1" flipV="1">
            <a:off x="9295635" y="2140663"/>
            <a:ext cx="187060" cy="5315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8347766" y="4429646"/>
            <a:ext cx="7120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Data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Quality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11229019" y="4227107"/>
            <a:ext cx="86305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Carrier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Fuzzy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Grouping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9466474" y="795071"/>
            <a:ext cx="113447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Feedbacks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Comments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Meaningful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Compression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9132818" y="2270822"/>
            <a:ext cx="12018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Customer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Segmentation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7415982" y="2162986"/>
            <a:ext cx="1108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Big Data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Visualization</a:t>
            </a:r>
          </a:p>
        </p:txBody>
      </p:sp>
      <p:cxnSp>
        <p:nvCxnSpPr>
          <p:cNvPr id="89" name="Straight Connector 88"/>
          <p:cNvCxnSpPr>
            <a:stCxn id="65" idx="1"/>
          </p:cNvCxnSpPr>
          <p:nvPr/>
        </p:nvCxnSpPr>
        <p:spPr>
          <a:xfrm flipH="1" flipV="1">
            <a:off x="8278428" y="1398982"/>
            <a:ext cx="187316" cy="158293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val 89"/>
          <p:cNvSpPr/>
          <p:nvPr/>
        </p:nvSpPr>
        <p:spPr>
          <a:xfrm>
            <a:off x="8017851" y="1198533"/>
            <a:ext cx="377481" cy="311622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TextBox 90"/>
          <p:cNvSpPr txBox="1"/>
          <p:nvPr/>
        </p:nvSpPr>
        <p:spPr>
          <a:xfrm>
            <a:off x="7726945" y="727203"/>
            <a:ext cx="12018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Carrier</a:t>
            </a:r>
          </a:p>
          <a:p>
            <a:pPr algn="ctr"/>
            <a:r>
              <a:rPr lang="en-US" sz="1400" dirty="0">
                <a:solidFill>
                  <a:schemeClr val="accent2"/>
                </a:solidFill>
              </a:rPr>
              <a:t>Segmentation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-79633" y="883249"/>
            <a:ext cx="11841079" cy="5996516"/>
          </a:xfrm>
          <a:prstGeom prst="rect">
            <a:avLst/>
          </a:prstGeom>
          <a:solidFill>
            <a:schemeClr val="bg1">
              <a:alpha val="5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anose="020F0502020204030204" pitchFamily="34" charset="0"/>
            </a:endParaRPr>
          </a:p>
        </p:txBody>
      </p:sp>
      <p:cxnSp>
        <p:nvCxnSpPr>
          <p:cNvPr id="93" name="Straight Arrow Connector 92"/>
          <p:cNvCxnSpPr/>
          <p:nvPr/>
        </p:nvCxnSpPr>
        <p:spPr bwMode="auto">
          <a:xfrm flipV="1">
            <a:off x="2786113" y="1425881"/>
            <a:ext cx="2189300" cy="875909"/>
          </a:xfrm>
          <a:prstGeom prst="straightConnector1">
            <a:avLst/>
          </a:prstGeom>
          <a:solidFill>
            <a:schemeClr val="tx2"/>
          </a:solidFill>
          <a:ln w="79375" cap="flat" cmpd="sng" algn="ctr">
            <a:solidFill>
              <a:schemeClr val="accent6">
                <a:lumMod val="2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99" name="Straight Arrow Connector 98"/>
          <p:cNvCxnSpPr/>
          <p:nvPr/>
        </p:nvCxnSpPr>
        <p:spPr bwMode="auto">
          <a:xfrm flipV="1">
            <a:off x="2801841" y="1001834"/>
            <a:ext cx="1626628" cy="1156970"/>
          </a:xfrm>
          <a:prstGeom prst="straightConnector1">
            <a:avLst/>
          </a:prstGeom>
          <a:solidFill>
            <a:schemeClr val="tx2"/>
          </a:solidFill>
          <a:ln w="79375" cap="flat" cmpd="sng" algn="ctr">
            <a:solidFill>
              <a:schemeClr val="accent6">
                <a:lumMod val="2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01" name="Rectangle 100"/>
          <p:cNvSpPr/>
          <p:nvPr/>
        </p:nvSpPr>
        <p:spPr bwMode="auto">
          <a:xfrm>
            <a:off x="365760" y="5850410"/>
            <a:ext cx="10235191" cy="605719"/>
          </a:xfrm>
          <a:prstGeom prst="rect">
            <a:avLst/>
          </a:prstGeom>
          <a:solidFill>
            <a:schemeClr val="bg1">
              <a:alpha val="5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94" name="Cloud Callout 93"/>
          <p:cNvSpPr/>
          <p:nvPr/>
        </p:nvSpPr>
        <p:spPr bwMode="auto">
          <a:xfrm rot="853958">
            <a:off x="2064652" y="753524"/>
            <a:ext cx="3334892" cy="1892720"/>
          </a:xfrm>
          <a:prstGeom prst="cloudCallout">
            <a:avLst/>
          </a:prstGeom>
          <a:solidFill>
            <a:srgbClr val="FFF7F7"/>
          </a:solidFill>
          <a:ln w="190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i="0" u="none" strike="noStrike" cap="none" normalizeH="0" baseline="0" dirty="0">
                <a:ln>
                  <a:noFill/>
                </a:ln>
                <a:solidFill>
                  <a:schemeClr val="accent6">
                    <a:lumMod val="25000"/>
                  </a:schemeClr>
                </a:solidFill>
                <a:effectLst/>
                <a:latin typeface="Cavolini" panose="020B0502040204020203" pitchFamily="66" charset="0"/>
                <a:cs typeface="Cavolini" panose="020B0502040204020203" pitchFamily="66" charset="0"/>
              </a:rPr>
              <a:t>Time Series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  <a:latin typeface="Cavolini" panose="020B0502040204020203" pitchFamily="66" charset="0"/>
                <a:cs typeface="Cavolini" panose="020B0502040204020203" pitchFamily="66" charset="0"/>
              </a:rPr>
              <a:t>Linear Models</a:t>
            </a:r>
            <a:endParaRPr kumimoji="0" lang="en-US" i="0" u="none" strike="noStrike" cap="none" normalizeH="0" baseline="0" dirty="0">
              <a:ln>
                <a:noFill/>
              </a:ln>
              <a:solidFill>
                <a:schemeClr val="accent6">
                  <a:lumMod val="25000"/>
                </a:schemeClr>
              </a:solidFill>
              <a:effectLst/>
              <a:latin typeface="Cavolini" panose="020B0502040204020203" pitchFamily="66" charset="0"/>
              <a:cs typeface="Cavolini" panose="020B0502040204020203" pitchFamily="66" charset="0"/>
            </a:endParaRPr>
          </a:p>
        </p:txBody>
      </p:sp>
      <p:sp>
        <p:nvSpPr>
          <p:cNvPr id="100" name="Cloud Callout 99"/>
          <p:cNvSpPr/>
          <p:nvPr/>
        </p:nvSpPr>
        <p:spPr bwMode="auto">
          <a:xfrm rot="424315">
            <a:off x="2719386" y="3263077"/>
            <a:ext cx="3401360" cy="2065645"/>
          </a:xfrm>
          <a:prstGeom prst="cloudCallout">
            <a:avLst/>
          </a:prstGeom>
          <a:solidFill>
            <a:srgbClr val="FFF7F7"/>
          </a:solidFill>
          <a:ln w="190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2000" b="1" dirty="0">
              <a:solidFill>
                <a:schemeClr val="accent6">
                  <a:lumMod val="25000"/>
                </a:schemeClr>
              </a:solidFill>
              <a:latin typeface="Jokerman" panose="04090605060D06020702" pitchFamily="82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2000" b="1" dirty="0">
              <a:solidFill>
                <a:schemeClr val="accent6">
                  <a:lumMod val="25000"/>
                </a:schemeClr>
              </a:solidFill>
              <a:latin typeface="Jokerman" panose="04090605060D06020702" pitchFamily="82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  <a:latin typeface="Cavolini" panose="03000502040302020204" pitchFamily="66" charset="0"/>
                <a:cs typeface="Cavolini" panose="03000502040302020204" pitchFamily="66" charset="0"/>
              </a:rPr>
              <a:t>Decision Tre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accent6">
                  <a:lumMod val="25000"/>
                </a:schemeClr>
              </a:solidFill>
              <a:effectLst/>
              <a:latin typeface="Cavolini" panose="03000502040302020204" pitchFamily="66" charset="0"/>
              <a:cs typeface="Cavolini" panose="03000502040302020204" pitchFamily="66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  <a:latin typeface="Cavolini" panose="03000502040302020204" pitchFamily="66" charset="0"/>
                <a:cs typeface="Cavolini" panose="03000502040302020204" pitchFamily="66" charset="0"/>
              </a:rPr>
              <a:t>Concept Learning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  <a:latin typeface="Cavolini" panose="03000502040302020204" pitchFamily="66" charset="0"/>
                <a:cs typeface="Cavolini" panose="03000502040302020204" pitchFamily="66" charset="0"/>
              </a:rPr>
              <a:t>Distance-base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  <a:latin typeface="Cavolini" panose="03000502040302020204" pitchFamily="66" charset="0"/>
                <a:cs typeface="Cavolini" panose="03000502040302020204" pitchFamily="66" charset="0"/>
              </a:rPr>
              <a:t> Discriminative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  <a:latin typeface="Cavolini" panose="03000502040302020204" pitchFamily="66" charset="0"/>
                <a:cs typeface="Cavolini" panose="03000502040302020204" pitchFamily="66" charset="0"/>
              </a:rPr>
              <a:t>Neural Network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2000" b="1" dirty="0">
              <a:solidFill>
                <a:schemeClr val="accent6">
                  <a:lumMod val="25000"/>
                </a:schemeClr>
              </a:solidFill>
              <a:latin typeface="Jokerman" panose="04090605060D06020702" pitchFamily="82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accent6">
                  <a:lumMod val="25000"/>
                </a:schemeClr>
              </a:solidFill>
              <a:effectLst/>
              <a:latin typeface="Jokerman" panose="04090605060D06020702" pitchFamily="82" charset="0"/>
            </a:endParaRPr>
          </a:p>
        </p:txBody>
      </p:sp>
      <p:sp>
        <p:nvSpPr>
          <p:cNvPr id="102" name="Cloud Callout 101"/>
          <p:cNvSpPr/>
          <p:nvPr/>
        </p:nvSpPr>
        <p:spPr bwMode="auto">
          <a:xfrm rot="853958">
            <a:off x="9191571" y="2711197"/>
            <a:ext cx="3341972" cy="1576319"/>
          </a:xfrm>
          <a:prstGeom prst="cloudCallout">
            <a:avLst/>
          </a:prstGeom>
          <a:solidFill>
            <a:srgbClr val="FFF7F7"/>
          </a:solidFill>
          <a:ln w="190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i="0" u="none" strike="noStrike" cap="none" normalizeH="0" baseline="0" dirty="0">
                <a:ln>
                  <a:noFill/>
                </a:ln>
                <a:solidFill>
                  <a:schemeClr val="accent6">
                    <a:lumMod val="25000"/>
                  </a:schemeClr>
                </a:solidFill>
                <a:effectLst/>
                <a:latin typeface="Cavolini" panose="03000502040302020204" pitchFamily="66" charset="0"/>
                <a:cs typeface="Cavolini" panose="03000502040302020204" pitchFamily="66" charset="0"/>
              </a:rPr>
              <a:t>Distanced-based</a:t>
            </a:r>
          </a:p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i="0" u="none" strike="noStrike" cap="none" normalizeH="0" baseline="0" dirty="0">
                <a:ln>
                  <a:noFill/>
                </a:ln>
                <a:solidFill>
                  <a:schemeClr val="accent6">
                    <a:lumMod val="25000"/>
                  </a:schemeClr>
                </a:solidFill>
                <a:effectLst/>
                <a:latin typeface="Cavolini" panose="03000502040302020204" pitchFamily="66" charset="0"/>
                <a:cs typeface="Cavolini" panose="03000502040302020204" pitchFamily="66" charset="0"/>
              </a:rPr>
              <a:t>Neural</a:t>
            </a:r>
            <a:r>
              <a:rPr kumimoji="0" lang="en-US" sz="1600" i="0" u="none" strike="noStrike" cap="none" normalizeH="0" dirty="0">
                <a:ln>
                  <a:noFill/>
                </a:ln>
                <a:solidFill>
                  <a:schemeClr val="accent6">
                    <a:lumMod val="25000"/>
                  </a:schemeClr>
                </a:solidFill>
                <a:effectLst/>
                <a:latin typeface="Cavolini" panose="03000502040302020204" pitchFamily="66" charset="0"/>
                <a:cs typeface="Cavolini" panose="03000502040302020204" pitchFamily="66" charset="0"/>
              </a:rPr>
              <a:t> Network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accent6">
                  <a:lumMod val="25000"/>
                </a:schemeClr>
              </a:solidFill>
              <a:effectLst/>
              <a:latin typeface="Cavolini" panose="03000502040302020204" pitchFamily="66" charset="0"/>
              <a:cs typeface="Cavolini" panose="03000502040302020204" pitchFamily="66" charset="0"/>
            </a:endParaRPr>
          </a:p>
        </p:txBody>
      </p:sp>
      <p:sp>
        <p:nvSpPr>
          <p:cNvPr id="103" name="Cloud Callout 102"/>
          <p:cNvSpPr/>
          <p:nvPr/>
        </p:nvSpPr>
        <p:spPr bwMode="auto">
          <a:xfrm rot="828805">
            <a:off x="8526595" y="793715"/>
            <a:ext cx="2997351" cy="1507326"/>
          </a:xfrm>
          <a:prstGeom prst="cloudCallout">
            <a:avLst/>
          </a:prstGeom>
          <a:solidFill>
            <a:srgbClr val="FFF7F7"/>
          </a:solidFill>
          <a:ln w="190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2000" b="1" dirty="0">
              <a:solidFill>
                <a:schemeClr val="accent6">
                  <a:lumMod val="25000"/>
                </a:schemeClr>
              </a:solidFill>
              <a:latin typeface="Jokerman" panose="04090605060D06020702" pitchFamily="82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2000" b="1" dirty="0">
              <a:solidFill>
                <a:schemeClr val="accent6">
                  <a:lumMod val="25000"/>
                </a:schemeClr>
              </a:solidFill>
              <a:latin typeface="Jokerman" panose="04090605060D06020702" pitchFamily="82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  <a:latin typeface="Cavolini" panose="03000502040302020204" pitchFamily="66" charset="0"/>
                <a:cs typeface="Cavolini" panose="03000502040302020204" pitchFamily="66" charset="0"/>
              </a:rPr>
              <a:t>Decision Tre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accent6">
                  <a:lumMod val="25000"/>
                </a:schemeClr>
              </a:solidFill>
              <a:effectLst/>
              <a:latin typeface="Cavolini" panose="03000502040302020204" pitchFamily="66" charset="0"/>
              <a:cs typeface="Cavolini" panose="03000502040302020204" pitchFamily="66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  <a:latin typeface="Cavolini" panose="03000502040302020204" pitchFamily="66" charset="0"/>
                <a:cs typeface="Cavolini" panose="03000502040302020204" pitchFamily="66" charset="0"/>
              </a:rPr>
              <a:t>Concept Learning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  <a:latin typeface="Cavolini" panose="03000502040302020204" pitchFamily="66" charset="0"/>
                <a:cs typeface="Cavolini" panose="03000502040302020204" pitchFamily="66" charset="0"/>
              </a:rPr>
              <a:t>Distance-based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dirty="0">
                <a:solidFill>
                  <a:schemeClr val="accent6">
                    <a:lumMod val="25000"/>
                  </a:schemeClr>
                </a:solidFill>
                <a:latin typeface="Cavolini" panose="03000502040302020204" pitchFamily="66" charset="0"/>
                <a:cs typeface="Cavolini" panose="03000502040302020204" pitchFamily="66" charset="0"/>
              </a:rPr>
              <a:t> Discriminative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2000" b="1" dirty="0">
              <a:solidFill>
                <a:schemeClr val="accent6">
                  <a:lumMod val="25000"/>
                </a:schemeClr>
              </a:solidFill>
              <a:latin typeface="Jokerman" panose="04090605060D06020702" pitchFamily="82" charset="0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accent6">
                  <a:lumMod val="25000"/>
                </a:schemeClr>
              </a:solidFill>
              <a:effectLst/>
              <a:latin typeface="Jokerman" panose="04090605060D060207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71262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8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9974" y="3059481"/>
            <a:ext cx="883862" cy="53617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271" y="135198"/>
            <a:ext cx="10744200" cy="656469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Matrix Big Data Machine Learning Data Architecture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51367" y="6251475"/>
            <a:ext cx="3576793" cy="365125"/>
          </a:xfrm>
        </p:spPr>
        <p:txBody>
          <a:bodyPr/>
          <a:lstStyle/>
          <a:p>
            <a:r>
              <a:rPr lang="en-US" dirty="0"/>
              <a:t>CEVA Machine Learning Capability Presentation – April 2020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6604" y="2948381"/>
            <a:ext cx="734836" cy="71489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1515" y="2003232"/>
            <a:ext cx="631932" cy="50026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3211" y="2614001"/>
            <a:ext cx="631932" cy="5002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3212" y="3201936"/>
            <a:ext cx="631932" cy="50026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3213" y="3786501"/>
            <a:ext cx="631932" cy="50026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6596" y="4343278"/>
            <a:ext cx="631932" cy="50026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079" y="2873447"/>
            <a:ext cx="1027121" cy="746849"/>
          </a:xfrm>
          <a:prstGeom prst="rect">
            <a:avLst/>
          </a:prstGeom>
        </p:spPr>
      </p:pic>
      <p:sp>
        <p:nvSpPr>
          <p:cNvPr id="37" name="Rounded Rectangle 36"/>
          <p:cNvSpPr/>
          <p:nvPr/>
        </p:nvSpPr>
        <p:spPr bwMode="auto">
          <a:xfrm>
            <a:off x="308271" y="1121986"/>
            <a:ext cx="2629854" cy="4220244"/>
          </a:xfrm>
          <a:prstGeom prst="round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064496" y="2295308"/>
            <a:ext cx="731446" cy="256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016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094502" y="2914079"/>
            <a:ext cx="731446" cy="256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017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101608" y="3534479"/>
            <a:ext cx="731446" cy="256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018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109354" y="4062218"/>
            <a:ext cx="731446" cy="256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019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085269" y="4597168"/>
            <a:ext cx="731446" cy="256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020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24690" y="1214220"/>
            <a:ext cx="22134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sym typeface="Wingdings" panose="05000000000000000000" pitchFamily="2" charset="2"/>
              </a:rPr>
              <a:t></a:t>
            </a:r>
            <a:r>
              <a:rPr lang="en-US" sz="2000" b="1" dirty="0">
                <a:solidFill>
                  <a:schemeClr val="accent2"/>
                </a:solidFill>
              </a:rPr>
              <a:t>Data Lakehouse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3547568" y="2758933"/>
            <a:ext cx="868832" cy="761589"/>
            <a:chOff x="8969448" y="1289388"/>
            <a:chExt cx="1175905" cy="1343336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108240" y="1738672"/>
              <a:ext cx="898320" cy="894052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969448" y="1289388"/>
              <a:ext cx="1175905" cy="449284"/>
            </a:xfrm>
            <a:prstGeom prst="rect">
              <a:avLst/>
            </a:prstGeom>
          </p:spPr>
        </p:pic>
      </p:grpSp>
      <p:sp>
        <p:nvSpPr>
          <p:cNvPr id="38" name="Rounded Rectangle 37"/>
          <p:cNvSpPr/>
          <p:nvPr/>
        </p:nvSpPr>
        <p:spPr bwMode="auto">
          <a:xfrm>
            <a:off x="3335447" y="1139687"/>
            <a:ext cx="2629854" cy="4220244"/>
          </a:xfrm>
          <a:prstGeom prst="round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3377043" y="1793484"/>
            <a:ext cx="1287130" cy="820517"/>
            <a:chOff x="3759627" y="1854840"/>
            <a:chExt cx="1469666" cy="1066138"/>
          </a:xfrm>
        </p:grpSpPr>
        <p:pic>
          <p:nvPicPr>
            <p:cNvPr id="12" name="Picture 11"/>
            <p:cNvPicPr/>
            <p:nvPr/>
          </p:nvPicPr>
          <p:blipFill>
            <a:blip r:embed="rId8"/>
            <a:stretch>
              <a:fillRect/>
            </a:stretch>
          </p:blipFill>
          <p:spPr>
            <a:xfrm>
              <a:off x="3759627" y="1854840"/>
              <a:ext cx="754538" cy="726772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514165" y="1854840"/>
              <a:ext cx="587953" cy="696015"/>
            </a:xfrm>
            <a:prstGeom prst="rect">
              <a:avLst/>
            </a:prstGeom>
          </p:spPr>
        </p:pic>
        <p:sp>
          <p:nvSpPr>
            <p:cNvPr id="40" name="TextBox 39"/>
            <p:cNvSpPr txBox="1"/>
            <p:nvPr/>
          </p:nvSpPr>
          <p:spPr>
            <a:xfrm flipH="1">
              <a:off x="3873262" y="2561068"/>
              <a:ext cx="1356031" cy="3599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2">
                      <a:lumMod val="75000"/>
                    </a:schemeClr>
                  </a:solidFill>
                </a:rPr>
                <a:t>Connectors</a:t>
              </a:r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3378115" y="1260893"/>
            <a:ext cx="2541404" cy="3337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sym typeface="Wingdings" panose="05000000000000000000" pitchFamily="2" charset="2"/>
              </a:rPr>
              <a:t></a:t>
            </a:r>
            <a:r>
              <a:rPr lang="en-US" sz="2000" b="1" dirty="0">
                <a:solidFill>
                  <a:schemeClr val="accent2"/>
                </a:solidFill>
              </a:rPr>
              <a:t>Data Engineering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88602" y="3593035"/>
            <a:ext cx="1822576" cy="274962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06733" y="3165495"/>
            <a:ext cx="1668193" cy="274963"/>
          </a:xfrm>
          <a:prstGeom prst="rect">
            <a:avLst/>
          </a:prstGeom>
        </p:spPr>
      </p:pic>
      <p:grpSp>
        <p:nvGrpSpPr>
          <p:cNvPr id="55" name="Group 54"/>
          <p:cNvGrpSpPr/>
          <p:nvPr/>
        </p:nvGrpSpPr>
        <p:grpSpPr>
          <a:xfrm>
            <a:off x="6358851" y="1139687"/>
            <a:ext cx="2711731" cy="4220244"/>
            <a:chOff x="6602998" y="1155316"/>
            <a:chExt cx="2672902" cy="5059984"/>
          </a:xfrm>
        </p:grpSpPr>
        <p:sp>
          <p:nvSpPr>
            <p:cNvPr id="39" name="Rounded Rectangle 38"/>
            <p:cNvSpPr/>
            <p:nvPr/>
          </p:nvSpPr>
          <p:spPr bwMode="auto">
            <a:xfrm>
              <a:off x="6602998" y="1155316"/>
              <a:ext cx="2592197" cy="5059984"/>
            </a:xfrm>
            <a:prstGeom prst="roundRect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602998" y="1337351"/>
              <a:ext cx="2672902" cy="479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  <a:sym typeface="Wingdings" panose="05000000000000000000" pitchFamily="2" charset="2"/>
                </a:rPr>
                <a:t></a:t>
              </a:r>
              <a:r>
                <a:rPr lang="en-US" sz="2000" b="1" dirty="0" err="1">
                  <a:solidFill>
                    <a:schemeClr val="accent2"/>
                  </a:solidFill>
                </a:rPr>
                <a:t>AutoML</a:t>
              </a:r>
              <a:r>
                <a:rPr lang="en-US" sz="2000" b="1" dirty="0">
                  <a:solidFill>
                    <a:schemeClr val="accent2"/>
                  </a:solidFill>
                </a:rPr>
                <a:t> Training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9281527" y="1121986"/>
            <a:ext cx="2711731" cy="4220244"/>
            <a:chOff x="6522293" y="1155316"/>
            <a:chExt cx="2672902" cy="5059984"/>
          </a:xfrm>
        </p:grpSpPr>
        <p:sp>
          <p:nvSpPr>
            <p:cNvPr id="57" name="Rounded Rectangle 56"/>
            <p:cNvSpPr/>
            <p:nvPr/>
          </p:nvSpPr>
          <p:spPr bwMode="auto">
            <a:xfrm>
              <a:off x="6602998" y="1155316"/>
              <a:ext cx="2592197" cy="5059984"/>
            </a:xfrm>
            <a:prstGeom prst="roundRect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6522293" y="1334577"/>
              <a:ext cx="2672902" cy="479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>
                  <a:solidFill>
                    <a:schemeClr val="accent2"/>
                  </a:solidFill>
                  <a:sym typeface="Wingdings" panose="05000000000000000000" pitchFamily="2" charset="2"/>
                </a:rPr>
                <a:t></a:t>
              </a:r>
              <a:r>
                <a:rPr lang="en-US" sz="2000" b="1" dirty="0">
                  <a:solidFill>
                    <a:schemeClr val="accent2"/>
                  </a:solidFill>
                </a:rPr>
                <a:t>Model Deployment</a:t>
              </a: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5056944" y="2315527"/>
            <a:ext cx="933450" cy="678520"/>
            <a:chOff x="4958143" y="2944373"/>
            <a:chExt cx="1586346" cy="937825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042516" y="2944373"/>
              <a:ext cx="799679" cy="448008"/>
            </a:xfrm>
            <a:prstGeom prst="rect">
              <a:avLst/>
            </a:prstGeom>
          </p:spPr>
        </p:pic>
        <p:sp>
          <p:nvSpPr>
            <p:cNvPr id="75" name="TextBox 74"/>
            <p:cNvSpPr txBox="1"/>
            <p:nvPr/>
          </p:nvSpPr>
          <p:spPr>
            <a:xfrm flipH="1">
              <a:off x="4958143" y="3358978"/>
              <a:ext cx="158586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2">
                      <a:lumMod val="75000"/>
                    </a:schemeClr>
                  </a:solidFill>
                </a:rPr>
                <a:t>  JSON Processor</a:t>
              </a:r>
            </a:p>
          </p:txBody>
        </p:sp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042996" y="2944373"/>
              <a:ext cx="799679" cy="448008"/>
            </a:xfrm>
            <a:prstGeom prst="rect">
              <a:avLst/>
            </a:prstGeom>
          </p:spPr>
        </p:pic>
        <p:sp>
          <p:nvSpPr>
            <p:cNvPr id="90" name="TextBox 89"/>
            <p:cNvSpPr txBox="1"/>
            <p:nvPr/>
          </p:nvSpPr>
          <p:spPr>
            <a:xfrm flipH="1">
              <a:off x="4958622" y="3358978"/>
              <a:ext cx="15858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2">
                      <a:lumMod val="75000"/>
                    </a:schemeClr>
                  </a:solidFill>
                </a:rPr>
                <a:t>  JSON</a:t>
              </a:r>
            </a:p>
            <a:p>
              <a:endParaRPr lang="en-US" sz="1400" b="1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pic>
        <p:nvPicPr>
          <p:cNvPr id="76" name="Picture 7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683018" y="1859306"/>
            <a:ext cx="1971418" cy="787775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644118" y="4163667"/>
            <a:ext cx="1067787" cy="802169"/>
          </a:xfrm>
          <a:prstGeom prst="rect">
            <a:avLst/>
          </a:prstGeom>
        </p:spPr>
      </p:pic>
      <p:grpSp>
        <p:nvGrpSpPr>
          <p:cNvPr id="91" name="Group 90"/>
          <p:cNvGrpSpPr/>
          <p:nvPr/>
        </p:nvGrpSpPr>
        <p:grpSpPr>
          <a:xfrm>
            <a:off x="3585973" y="3947433"/>
            <a:ext cx="985129" cy="1029661"/>
            <a:chOff x="3647520" y="5088700"/>
            <a:chExt cx="985129" cy="1029661"/>
          </a:xfrm>
        </p:grpSpPr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791178" y="5088700"/>
              <a:ext cx="659011" cy="543256"/>
            </a:xfrm>
            <a:prstGeom prst="rect">
              <a:avLst/>
            </a:prstGeom>
          </p:spPr>
        </p:pic>
        <p:sp>
          <p:nvSpPr>
            <p:cNvPr id="80" name="TextBox 79"/>
            <p:cNvSpPr txBox="1"/>
            <p:nvPr/>
          </p:nvSpPr>
          <p:spPr>
            <a:xfrm flipH="1">
              <a:off x="3647520" y="5595141"/>
              <a:ext cx="98512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2">
                      <a:lumMod val="75000"/>
                    </a:schemeClr>
                  </a:solidFill>
                </a:rPr>
                <a:t> Feature</a:t>
              </a:r>
              <a:endParaRPr lang="en-US" sz="1400" b="1" u="sng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 algn="ctr"/>
              <a:r>
                <a:rPr lang="en-US" sz="1400" b="1" dirty="0">
                  <a:solidFill>
                    <a:schemeClr val="bg2">
                      <a:lumMod val="75000"/>
                    </a:schemeClr>
                  </a:solidFill>
                </a:rPr>
                <a:t>Selection</a:t>
              </a:r>
            </a:p>
          </p:txBody>
        </p:sp>
      </p:grpSp>
      <p:pic>
        <p:nvPicPr>
          <p:cNvPr id="82" name="Picture 8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978238" y="3356883"/>
            <a:ext cx="933450" cy="1181100"/>
          </a:xfrm>
          <a:prstGeom prst="rect">
            <a:avLst/>
          </a:prstGeom>
        </p:spPr>
      </p:pic>
      <p:sp>
        <p:nvSpPr>
          <p:cNvPr id="83" name="TextBox 82"/>
          <p:cNvSpPr txBox="1"/>
          <p:nvPr/>
        </p:nvSpPr>
        <p:spPr>
          <a:xfrm flipH="1">
            <a:off x="4483649" y="4543216"/>
            <a:ext cx="19226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Transform</a:t>
            </a:r>
          </a:p>
        </p:txBody>
      </p:sp>
      <p:pic>
        <p:nvPicPr>
          <p:cNvPr id="84" name="Picture 8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430704" y="2937616"/>
            <a:ext cx="816185" cy="671149"/>
          </a:xfrm>
          <a:prstGeom prst="rect">
            <a:avLst/>
          </a:prstGeom>
        </p:spPr>
      </p:pic>
      <p:sp>
        <p:nvSpPr>
          <p:cNvPr id="86" name="Rounded Rectangle 85"/>
          <p:cNvSpPr/>
          <p:nvPr/>
        </p:nvSpPr>
        <p:spPr bwMode="auto">
          <a:xfrm>
            <a:off x="3333669" y="1139687"/>
            <a:ext cx="2629854" cy="4220244"/>
          </a:xfrm>
          <a:prstGeom prst="round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94" name="Pentagon 93"/>
          <p:cNvSpPr/>
          <p:nvPr/>
        </p:nvSpPr>
        <p:spPr bwMode="auto">
          <a:xfrm>
            <a:off x="4742087" y="5396891"/>
            <a:ext cx="2865755" cy="786238"/>
          </a:xfrm>
          <a:prstGeom prst="homePlate">
            <a:avLst/>
          </a:prstGeom>
          <a:solidFill>
            <a:schemeClr val="accent6">
              <a:lumMod val="2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Big Data Training Process</a:t>
            </a:r>
            <a:r>
              <a:rPr lang="en-US" sz="1600" dirty="0"/>
              <a:t> </a:t>
            </a:r>
          </a:p>
        </p:txBody>
      </p:sp>
      <p:sp>
        <p:nvSpPr>
          <p:cNvPr id="95" name="Pentagon 94"/>
          <p:cNvSpPr/>
          <p:nvPr/>
        </p:nvSpPr>
        <p:spPr bwMode="auto">
          <a:xfrm>
            <a:off x="7930292" y="5391610"/>
            <a:ext cx="3282820" cy="769489"/>
          </a:xfrm>
          <a:prstGeom prst="homePlate">
            <a:avLst/>
          </a:prstGeom>
          <a:solidFill>
            <a:schemeClr val="accent6">
              <a:lumMod val="2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Trained Machine Learning Models</a:t>
            </a:r>
            <a:endParaRPr lang="en-US" sz="1600" dirty="0"/>
          </a:p>
        </p:txBody>
      </p:sp>
      <p:sp>
        <p:nvSpPr>
          <p:cNvPr id="93" name="Pentagon 92"/>
          <p:cNvSpPr/>
          <p:nvPr/>
        </p:nvSpPr>
        <p:spPr bwMode="auto">
          <a:xfrm>
            <a:off x="978888" y="5435563"/>
            <a:ext cx="3481955" cy="733670"/>
          </a:xfrm>
          <a:prstGeom prst="homePlate">
            <a:avLst/>
          </a:prstGeom>
          <a:solidFill>
            <a:schemeClr val="accent6">
              <a:lumMod val="25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Big Data Parallel Processing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 Multi-Threaded Bulk Data Loading</a:t>
            </a:r>
            <a:r>
              <a:rPr lang="en-US" sz="1600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42DAF8-2E18-42DF-9CD2-EDF95D49BF8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699370" y="2033693"/>
            <a:ext cx="1900641" cy="9829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8393663-FA13-473D-AA92-1BEBFBBAB5D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773356" y="1982813"/>
            <a:ext cx="1113545" cy="277798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909DEAD5-A3FF-44C4-B085-D57B4E4CE65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830476" y="4517758"/>
            <a:ext cx="990964" cy="207759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C41AAAF7-8D22-4F4C-AFDA-0A37202309CD}"/>
              </a:ext>
            </a:extLst>
          </p:cNvPr>
          <p:cNvSpPr/>
          <p:nvPr/>
        </p:nvSpPr>
        <p:spPr>
          <a:xfrm>
            <a:off x="4593713" y="2348330"/>
            <a:ext cx="339295" cy="2036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Arrow: Right 68">
            <a:extLst>
              <a:ext uri="{FF2B5EF4-FFF2-40B4-BE49-F238E27FC236}">
                <a16:creationId xmlns:a16="http://schemas.microsoft.com/office/drawing/2014/main" id="{89B865AC-B87A-4DC9-807E-32C18EEABA53}"/>
              </a:ext>
            </a:extLst>
          </p:cNvPr>
          <p:cNvSpPr/>
          <p:nvPr/>
        </p:nvSpPr>
        <p:spPr>
          <a:xfrm>
            <a:off x="4583298" y="3530084"/>
            <a:ext cx="339295" cy="2036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Arrow: Right 69">
            <a:extLst>
              <a:ext uri="{FF2B5EF4-FFF2-40B4-BE49-F238E27FC236}">
                <a16:creationId xmlns:a16="http://schemas.microsoft.com/office/drawing/2014/main" id="{33CC62E0-EB73-48C6-9CFD-7E02FBE9BA03}"/>
              </a:ext>
            </a:extLst>
          </p:cNvPr>
          <p:cNvSpPr/>
          <p:nvPr/>
        </p:nvSpPr>
        <p:spPr>
          <a:xfrm rot="10800000">
            <a:off x="4542931" y="2868778"/>
            <a:ext cx="339295" cy="203677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Arrow: Right 70">
            <a:extLst>
              <a:ext uri="{FF2B5EF4-FFF2-40B4-BE49-F238E27FC236}">
                <a16:creationId xmlns:a16="http://schemas.microsoft.com/office/drawing/2014/main" id="{175450E2-B963-4552-A49B-6C82C8F0E103}"/>
              </a:ext>
            </a:extLst>
          </p:cNvPr>
          <p:cNvSpPr/>
          <p:nvPr/>
        </p:nvSpPr>
        <p:spPr>
          <a:xfrm rot="5400000">
            <a:off x="10499079" y="3784378"/>
            <a:ext cx="339295" cy="2036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Arrow: Right 71">
            <a:extLst>
              <a:ext uri="{FF2B5EF4-FFF2-40B4-BE49-F238E27FC236}">
                <a16:creationId xmlns:a16="http://schemas.microsoft.com/office/drawing/2014/main" id="{6D223FCC-112E-400D-90B0-19329F95D2C6}"/>
              </a:ext>
            </a:extLst>
          </p:cNvPr>
          <p:cNvSpPr/>
          <p:nvPr/>
        </p:nvSpPr>
        <p:spPr>
          <a:xfrm rot="10800000">
            <a:off x="4552794" y="4180639"/>
            <a:ext cx="339295" cy="203677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69E8A48-7DB5-4E2F-8AE4-FE20A65BAD9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699099" y="4062218"/>
            <a:ext cx="978380" cy="1018357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735923" y="4317034"/>
            <a:ext cx="1164465" cy="55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291804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7940" y="5259885"/>
            <a:ext cx="865452" cy="702544"/>
          </a:xfrm>
          <a:prstGeom prst="rect">
            <a:avLst/>
          </a:prstGeom>
          <a:effectLst/>
        </p:spPr>
      </p:pic>
      <p:sp>
        <p:nvSpPr>
          <p:cNvPr id="54" name="Oval 53">
            <a:extLst>
              <a:ext uri="{FF2B5EF4-FFF2-40B4-BE49-F238E27FC236}">
                <a16:creationId xmlns:a16="http://schemas.microsoft.com/office/drawing/2014/main" id="{678D746B-1993-43F1-88E1-92634F6C5B47}"/>
              </a:ext>
            </a:extLst>
          </p:cNvPr>
          <p:cNvSpPr/>
          <p:nvPr/>
        </p:nvSpPr>
        <p:spPr>
          <a:xfrm>
            <a:off x="7357916" y="1825340"/>
            <a:ext cx="3672147" cy="3689616"/>
          </a:xfrm>
          <a:prstGeom prst="ellipse">
            <a:avLst/>
          </a:prstGeom>
          <a:noFill/>
          <a:ln w="66675">
            <a:solidFill>
              <a:schemeClr val="tx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ounded Rectangle 36"/>
          <p:cNvSpPr/>
          <p:nvPr/>
        </p:nvSpPr>
        <p:spPr bwMode="auto">
          <a:xfrm>
            <a:off x="7203069" y="4741140"/>
            <a:ext cx="1714500" cy="17145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55" y="161291"/>
            <a:ext cx="10515053" cy="509822"/>
          </a:xfrm>
        </p:spPr>
        <p:txBody>
          <a:bodyPr/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MACHINE LEARNING/AI PORTAL ARCHITE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51367" y="6251475"/>
            <a:ext cx="3576793" cy="365125"/>
          </a:xfrm>
        </p:spPr>
        <p:txBody>
          <a:bodyPr/>
          <a:lstStyle/>
          <a:p>
            <a:r>
              <a:rPr lang="en-US" dirty="0"/>
              <a:t>CEVA Machine Learning Capability Presentation – April 2020</a:t>
            </a:r>
          </a:p>
        </p:txBody>
      </p:sp>
      <p:sp>
        <p:nvSpPr>
          <p:cNvPr id="5" name="Date Placeholder 1"/>
          <p:cNvSpPr txBox="1">
            <a:spLocks/>
          </p:cNvSpPr>
          <p:nvPr/>
        </p:nvSpPr>
        <p:spPr>
          <a:xfrm>
            <a:off x="609600" y="6400800"/>
            <a:ext cx="609600" cy="4572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>
          <a:xfrm>
            <a:off x="10972800" y="6416246"/>
            <a:ext cx="609600" cy="4572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4B46AC-3649-446D-AC52-CDBEDCC1F216}" type="slidenum">
              <a:rPr lang="en-GB" smtClean="0"/>
              <a:pPr/>
              <a:t>16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565" y="2154346"/>
            <a:ext cx="1485900" cy="695325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314346" y="1314337"/>
            <a:ext cx="1885073" cy="2053054"/>
            <a:chOff x="1066800" y="1028700"/>
            <a:chExt cx="1885073" cy="2053054"/>
          </a:xfrm>
        </p:grpSpPr>
        <p:sp>
          <p:nvSpPr>
            <p:cNvPr id="9" name="Rounded Rectangle 8"/>
            <p:cNvSpPr/>
            <p:nvPr/>
          </p:nvSpPr>
          <p:spPr bwMode="auto">
            <a:xfrm>
              <a:off x="1066800" y="1028700"/>
              <a:ext cx="1714500" cy="1714500"/>
            </a:xfrm>
            <a:prstGeom prst="roundRect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221187" y="1053101"/>
              <a:ext cx="1625870" cy="9541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accent2"/>
                  </a:solidFill>
                </a:rPr>
                <a:t>Matrix</a:t>
              </a:r>
              <a:r>
                <a:rPr lang="en-US" sz="1400" b="1" dirty="0">
                  <a:solidFill>
                    <a:schemeClr val="accent2"/>
                  </a:solidFill>
                  <a:cs typeface="Calibri" panose="020F0502020204030204" pitchFamily="34" charset="0"/>
                </a:rPr>
                <a:t> •</a:t>
              </a:r>
              <a:r>
                <a:rPr lang="en-US" sz="1400" b="1" dirty="0">
                  <a:solidFill>
                    <a:schemeClr val="accent2"/>
                  </a:solidFill>
                </a:rPr>
                <a:t> FMS </a:t>
              </a:r>
              <a:r>
                <a:rPr lang="en-US" sz="1400" b="1" dirty="0">
                  <a:solidFill>
                    <a:schemeClr val="accent2"/>
                  </a:solidFill>
                  <a:cs typeface="Calibri" panose="020F0502020204030204" pitchFamily="34" charset="0"/>
                </a:rPr>
                <a:t>•</a:t>
              </a:r>
              <a:r>
                <a:rPr lang="en-US" sz="1400" b="1" dirty="0">
                  <a:solidFill>
                    <a:schemeClr val="accent2"/>
                  </a:solidFill>
                </a:rPr>
                <a:t> </a:t>
              </a:r>
            </a:p>
            <a:p>
              <a:r>
                <a:rPr lang="en-US" sz="1400" b="1" dirty="0">
                  <a:solidFill>
                    <a:schemeClr val="accent2"/>
                  </a:solidFill>
                </a:rPr>
                <a:t>WMS </a:t>
              </a:r>
              <a:r>
                <a:rPr lang="en-US" sz="1400" b="1" dirty="0">
                  <a:solidFill>
                    <a:schemeClr val="accent2"/>
                  </a:solidFill>
                  <a:cs typeface="Calibri" panose="020F0502020204030204" pitchFamily="34" charset="0"/>
                </a:rPr>
                <a:t>•</a:t>
              </a:r>
              <a:r>
                <a:rPr lang="en-US" sz="1400" b="1" dirty="0">
                  <a:solidFill>
                    <a:schemeClr val="accent2"/>
                  </a:solidFill>
                </a:rPr>
                <a:t>  JSON </a:t>
              </a:r>
              <a:r>
                <a:rPr lang="en-US" sz="1400" b="1" dirty="0">
                  <a:solidFill>
                    <a:schemeClr val="accent2"/>
                  </a:solidFill>
                  <a:cs typeface="Calibri" panose="020F0502020204030204" pitchFamily="34" charset="0"/>
                </a:rPr>
                <a:t>•</a:t>
              </a:r>
              <a:r>
                <a:rPr lang="en-US" sz="1400" b="1" dirty="0">
                  <a:solidFill>
                    <a:schemeClr val="accent2"/>
                  </a:solidFill>
                </a:rPr>
                <a:t> CSV </a:t>
              </a:r>
              <a:r>
                <a:rPr lang="en-US" sz="1400" b="1" dirty="0">
                  <a:solidFill>
                    <a:schemeClr val="accent2"/>
                  </a:solidFill>
                  <a:cs typeface="Calibri" panose="020F0502020204030204" pitchFamily="34" charset="0"/>
                </a:rPr>
                <a:t>•</a:t>
              </a:r>
              <a:r>
                <a:rPr lang="en-US" sz="1400" b="1" dirty="0">
                  <a:solidFill>
                    <a:schemeClr val="accent2"/>
                  </a:solidFill>
                </a:rPr>
                <a:t> 3</a:t>
              </a:r>
              <a:r>
                <a:rPr lang="en-US" sz="1400" b="1" baseline="30000" dirty="0">
                  <a:solidFill>
                    <a:schemeClr val="accent2"/>
                  </a:solidFill>
                </a:rPr>
                <a:t>rd</a:t>
              </a:r>
              <a:r>
                <a:rPr lang="en-US" sz="1400" b="1" dirty="0">
                  <a:solidFill>
                    <a:schemeClr val="accent2"/>
                  </a:solidFill>
                </a:rPr>
                <a:t> Party Data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382775" y="2558534"/>
              <a:ext cx="1569098" cy="52322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Transactional </a:t>
              </a:r>
            </a:p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Data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358570" y="1314337"/>
            <a:ext cx="1876307" cy="2053054"/>
            <a:chOff x="3695700" y="1028700"/>
            <a:chExt cx="1876307" cy="2053054"/>
          </a:xfrm>
        </p:grpSpPr>
        <p:sp>
          <p:nvSpPr>
            <p:cNvPr id="13" name="Rounded Rectangle 12"/>
            <p:cNvSpPr/>
            <p:nvPr/>
          </p:nvSpPr>
          <p:spPr bwMode="auto">
            <a:xfrm>
              <a:off x="3695700" y="1028700"/>
              <a:ext cx="1714500" cy="1714500"/>
            </a:xfrm>
            <a:prstGeom prst="roundRect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212661" y="2558534"/>
              <a:ext cx="1359346" cy="5232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Data Lakehouse</a:t>
              </a:r>
            </a:p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Model</a:t>
              </a:r>
            </a:p>
          </p:txBody>
        </p:sp>
        <p:pic>
          <p:nvPicPr>
            <p:cNvPr id="15" name="Picture 14"/>
            <p:cNvPicPr/>
            <p:nvPr/>
          </p:nvPicPr>
          <p:blipFill>
            <a:blip r:embed="rId5"/>
            <a:stretch>
              <a:fillRect/>
            </a:stretch>
          </p:blipFill>
          <p:spPr>
            <a:xfrm>
              <a:off x="3889937" y="1193735"/>
              <a:ext cx="1329684" cy="1213213"/>
            </a:xfrm>
            <a:prstGeom prst="rect">
              <a:avLst/>
            </a:prstGeom>
          </p:spPr>
        </p:pic>
      </p:grpSp>
      <p:sp>
        <p:nvSpPr>
          <p:cNvPr id="16" name="Rounded Rectangle 15"/>
          <p:cNvSpPr/>
          <p:nvPr/>
        </p:nvSpPr>
        <p:spPr bwMode="auto">
          <a:xfrm>
            <a:off x="4501892" y="1336464"/>
            <a:ext cx="1714500" cy="1714500"/>
          </a:xfrm>
          <a:prstGeom prst="round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06734" y="1959112"/>
            <a:ext cx="864745" cy="87075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992886" y="2833851"/>
            <a:ext cx="1569098" cy="52322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Pentaho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ETL</a:t>
            </a:r>
          </a:p>
        </p:txBody>
      </p:sp>
      <p:sp>
        <p:nvSpPr>
          <p:cNvPr id="20" name="Rounded Rectangle 19"/>
          <p:cNvSpPr/>
          <p:nvPr/>
        </p:nvSpPr>
        <p:spPr bwMode="auto">
          <a:xfrm>
            <a:off x="7010405" y="925774"/>
            <a:ext cx="1714500" cy="1714500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itchFamily="34" charset="0"/>
            </a:endParaRPr>
          </a:p>
        </p:txBody>
      </p:sp>
      <p:pic>
        <p:nvPicPr>
          <p:cNvPr id="21" name="Picture 20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8831" y="1168606"/>
            <a:ext cx="1452573" cy="1017137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TextBox 21"/>
          <p:cNvSpPr txBox="1"/>
          <p:nvPr/>
        </p:nvSpPr>
        <p:spPr>
          <a:xfrm>
            <a:off x="7158831" y="2278003"/>
            <a:ext cx="1869141" cy="52322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Predictive Analytic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Model</a:t>
            </a:r>
          </a:p>
        </p:txBody>
      </p:sp>
      <p:sp>
        <p:nvSpPr>
          <p:cNvPr id="24" name="Rounded Rectangle 23"/>
          <p:cNvSpPr/>
          <p:nvPr/>
        </p:nvSpPr>
        <p:spPr bwMode="auto">
          <a:xfrm>
            <a:off x="10438411" y="3172737"/>
            <a:ext cx="1275252" cy="1245279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63B7D48-C9FC-4B8A-9B5D-562DA4912061}"/>
              </a:ext>
            </a:extLst>
          </p:cNvPr>
          <p:cNvGrpSpPr/>
          <p:nvPr/>
        </p:nvGrpSpPr>
        <p:grpSpPr>
          <a:xfrm>
            <a:off x="9476366" y="925271"/>
            <a:ext cx="1865167" cy="1853678"/>
            <a:chOff x="9429282" y="1066991"/>
            <a:chExt cx="1865167" cy="1853678"/>
          </a:xfrm>
        </p:grpSpPr>
        <p:sp>
          <p:nvSpPr>
            <p:cNvPr id="81" name="Rounded Rectangle 23">
              <a:extLst>
                <a:ext uri="{FF2B5EF4-FFF2-40B4-BE49-F238E27FC236}">
                  <a16:creationId xmlns:a16="http://schemas.microsoft.com/office/drawing/2014/main" id="{A1E9200E-9A2A-45B8-A1E0-530D2676E3E6}"/>
                </a:ext>
              </a:extLst>
            </p:cNvPr>
            <p:cNvSpPr/>
            <p:nvPr/>
          </p:nvSpPr>
          <p:spPr bwMode="auto">
            <a:xfrm>
              <a:off x="9429282" y="1066991"/>
              <a:ext cx="1714500" cy="1714500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9434564" y="2397449"/>
              <a:ext cx="1859885" cy="5232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Machine Learning</a:t>
              </a:r>
            </a:p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Algorithms</a:t>
              </a:r>
            </a:p>
          </p:txBody>
        </p:sp>
        <p:pic>
          <p:nvPicPr>
            <p:cNvPr id="26" name="Picture 25"/>
            <p:cNvPicPr/>
            <p:nvPr/>
          </p:nvPicPr>
          <p:blipFill>
            <a:blip r:embed="rId8"/>
            <a:stretch>
              <a:fillRect/>
            </a:stretch>
          </p:blipFill>
          <p:spPr>
            <a:xfrm>
              <a:off x="9557564" y="1604248"/>
              <a:ext cx="977021" cy="735396"/>
            </a:xfrm>
            <a:prstGeom prst="rect">
              <a:avLst/>
            </a:prstGeom>
          </p:spPr>
        </p:pic>
        <p:pic>
          <p:nvPicPr>
            <p:cNvPr id="27" name="Picture 26"/>
            <p:cNvPicPr/>
            <p:nvPr/>
          </p:nvPicPr>
          <p:blipFill>
            <a:blip r:embed="rId9"/>
            <a:stretch>
              <a:fillRect/>
            </a:stretch>
          </p:blipFill>
          <p:spPr>
            <a:xfrm>
              <a:off x="10036184" y="1165598"/>
              <a:ext cx="890970" cy="573184"/>
            </a:xfrm>
            <a:prstGeom prst="rect">
              <a:avLst/>
            </a:prstGeom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75067F6-3360-428A-908B-751DCF49D99D}"/>
              </a:ext>
            </a:extLst>
          </p:cNvPr>
          <p:cNvGrpSpPr/>
          <p:nvPr/>
        </p:nvGrpSpPr>
        <p:grpSpPr>
          <a:xfrm>
            <a:off x="9347494" y="4747215"/>
            <a:ext cx="2085104" cy="1971604"/>
            <a:chOff x="9347494" y="4747215"/>
            <a:chExt cx="2085104" cy="1971604"/>
          </a:xfrm>
        </p:grpSpPr>
        <p:sp>
          <p:nvSpPr>
            <p:cNvPr id="30" name="Rounded Rectangle 29"/>
            <p:cNvSpPr/>
            <p:nvPr/>
          </p:nvSpPr>
          <p:spPr bwMode="auto">
            <a:xfrm>
              <a:off x="9347494" y="4747215"/>
              <a:ext cx="1714500" cy="1714500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itchFamily="34" charset="0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9540538" y="5011724"/>
              <a:ext cx="1271700" cy="1163947"/>
              <a:chOff x="4437994" y="5261999"/>
              <a:chExt cx="1803229" cy="1600406"/>
            </a:xfrm>
          </p:grpSpPr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954278" y="6091996"/>
                <a:ext cx="940082" cy="770409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20744150">
                <a:off x="4437994" y="5261999"/>
                <a:ext cx="1032568" cy="955675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442137" y="5340812"/>
                <a:ext cx="799086" cy="797345"/>
              </a:xfrm>
              <a:prstGeom prst="rect">
                <a:avLst/>
              </a:prstGeom>
            </p:spPr>
          </p:pic>
        </p:grpSp>
        <p:sp>
          <p:nvSpPr>
            <p:cNvPr id="31" name="TextBox 30"/>
            <p:cNvSpPr txBox="1"/>
            <p:nvPr/>
          </p:nvSpPr>
          <p:spPr>
            <a:xfrm>
              <a:off x="9661633" y="6195599"/>
              <a:ext cx="1770965" cy="5232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Machine Learning</a:t>
              </a:r>
            </a:p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Modules</a:t>
              </a:r>
            </a:p>
          </p:txBody>
        </p:sp>
      </p:grpSp>
      <p:pic>
        <p:nvPicPr>
          <p:cNvPr id="36" name="Picture 3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409236" y="4856819"/>
            <a:ext cx="1143000" cy="1343025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7438422" y="6189524"/>
            <a:ext cx="1849751" cy="52322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Machine </a:t>
            </a:r>
            <a:r>
              <a:rPr lang="en-US" sz="1400" b="1" dirty="0" err="1">
                <a:solidFill>
                  <a:schemeClr val="bg1"/>
                </a:solidFill>
              </a:rPr>
              <a:t>Learing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Solution Packages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4542400" y="4423830"/>
            <a:ext cx="2109402" cy="1971604"/>
            <a:chOff x="3403406" y="3551330"/>
            <a:chExt cx="2109402" cy="1971604"/>
          </a:xfrm>
        </p:grpSpPr>
        <p:sp>
          <p:nvSpPr>
            <p:cNvPr id="42" name="Rounded Rectangle 41"/>
            <p:cNvSpPr/>
            <p:nvPr/>
          </p:nvSpPr>
          <p:spPr bwMode="auto">
            <a:xfrm>
              <a:off x="3403406" y="3551330"/>
              <a:ext cx="1714500" cy="1714500"/>
            </a:xfrm>
            <a:prstGeom prst="roundRect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774009" y="4999714"/>
              <a:ext cx="1738799" cy="5232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Machine Learning </a:t>
              </a:r>
            </a:p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Portal</a:t>
              </a: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2359908" y="4390649"/>
            <a:ext cx="2085104" cy="1971604"/>
            <a:chOff x="3403406" y="3551330"/>
            <a:chExt cx="2085104" cy="1971604"/>
          </a:xfrm>
        </p:grpSpPr>
        <p:sp>
          <p:nvSpPr>
            <p:cNvPr id="45" name="Rounded Rectangle 44"/>
            <p:cNvSpPr/>
            <p:nvPr/>
          </p:nvSpPr>
          <p:spPr bwMode="auto">
            <a:xfrm>
              <a:off x="3403406" y="3551330"/>
              <a:ext cx="1714500" cy="1714500"/>
            </a:xfrm>
            <a:prstGeom prst="roundRect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752705" y="4999714"/>
              <a:ext cx="1735805" cy="5232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Visualization</a:t>
              </a:r>
            </a:p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43493" y="4597237"/>
            <a:ext cx="1566710" cy="1176981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E9148F95-989E-4897-99F9-62C500A5A99E}"/>
              </a:ext>
            </a:extLst>
          </p:cNvPr>
          <p:cNvGrpSpPr/>
          <p:nvPr/>
        </p:nvGrpSpPr>
        <p:grpSpPr>
          <a:xfrm>
            <a:off x="6599785" y="3187921"/>
            <a:ext cx="1520751" cy="1386845"/>
            <a:chOff x="748244" y="4165473"/>
            <a:chExt cx="2085104" cy="1971604"/>
          </a:xfrm>
        </p:grpSpPr>
        <p:grpSp>
          <p:nvGrpSpPr>
            <p:cNvPr id="48" name="Group 47"/>
            <p:cNvGrpSpPr/>
            <p:nvPr/>
          </p:nvGrpSpPr>
          <p:grpSpPr>
            <a:xfrm>
              <a:off x="748244" y="4165473"/>
              <a:ext cx="2085104" cy="1971604"/>
              <a:chOff x="3403406" y="3551330"/>
              <a:chExt cx="2085104" cy="1971604"/>
            </a:xfrm>
          </p:grpSpPr>
          <p:sp>
            <p:nvSpPr>
              <p:cNvPr id="49" name="Rounded Rectangle 48"/>
              <p:cNvSpPr/>
              <p:nvPr/>
            </p:nvSpPr>
            <p:spPr bwMode="auto">
              <a:xfrm>
                <a:off x="3403406" y="3551330"/>
                <a:ext cx="1714500" cy="1714500"/>
              </a:xfrm>
              <a:prstGeom prst="roundRect">
                <a:avLst/>
              </a:prstGeom>
              <a:noFill/>
              <a:ln w="254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itchFamily="34" charset="0"/>
                </a:endParaRP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3919412" y="4999714"/>
                <a:ext cx="1569098" cy="523220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bg1"/>
                    </a:solidFill>
                  </a:rPr>
                  <a:t>API enabled </a:t>
                </a:r>
              </a:p>
              <a:p>
                <a:pPr algn="ctr"/>
                <a:r>
                  <a:rPr lang="en-US" sz="1400" b="1" dirty="0">
                    <a:solidFill>
                      <a:schemeClr val="bg1"/>
                    </a:solidFill>
                  </a:rPr>
                  <a:t>Connection</a:t>
                </a:r>
              </a:p>
            </p:txBody>
          </p:sp>
        </p:grpSp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99853" y="4567654"/>
              <a:ext cx="1533225" cy="931052"/>
            </a:xfrm>
            <a:prstGeom prst="rect">
              <a:avLst/>
            </a:prstGeom>
          </p:spPr>
        </p:pic>
      </p:grpSp>
      <p:sp>
        <p:nvSpPr>
          <p:cNvPr id="67" name="Arc 66"/>
          <p:cNvSpPr/>
          <p:nvPr/>
        </p:nvSpPr>
        <p:spPr bwMode="auto">
          <a:xfrm rot="19274330">
            <a:off x="3203727" y="914644"/>
            <a:ext cx="2688877" cy="3032998"/>
          </a:xfrm>
          <a:prstGeom prst="arc">
            <a:avLst>
              <a:gd name="adj1" fmla="val 16200000"/>
              <a:gd name="adj2" fmla="val 20735834"/>
            </a:avLst>
          </a:prstGeom>
          <a:noFill/>
          <a:ln w="63500" cap="flat" cmpd="sng" algn="ctr">
            <a:solidFill>
              <a:srgbClr val="002060"/>
            </a:solidFill>
            <a:prstDash val="solid"/>
            <a:round/>
            <a:headEnd type="none" w="lg" len="lg"/>
            <a:tailEnd type="stealth" w="lg" len="lg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68" name="Arc 67"/>
          <p:cNvSpPr/>
          <p:nvPr/>
        </p:nvSpPr>
        <p:spPr bwMode="auto">
          <a:xfrm rot="18026539">
            <a:off x="6018799" y="785019"/>
            <a:ext cx="2688877" cy="3032998"/>
          </a:xfrm>
          <a:prstGeom prst="arc">
            <a:avLst>
              <a:gd name="adj1" fmla="val 16200000"/>
              <a:gd name="adj2" fmla="val 20735834"/>
            </a:avLst>
          </a:prstGeom>
          <a:noFill/>
          <a:ln w="63500" cap="flat" cmpd="sng" algn="ctr">
            <a:solidFill>
              <a:srgbClr val="002060"/>
            </a:solidFill>
            <a:prstDash val="solid"/>
            <a:round/>
            <a:headEnd type="none" w="lg" len="lg"/>
            <a:tailEnd type="stealth" w="lg" len="lg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77" name="Arc 76"/>
          <p:cNvSpPr/>
          <p:nvPr/>
        </p:nvSpPr>
        <p:spPr bwMode="auto">
          <a:xfrm rot="19274330">
            <a:off x="904495" y="920335"/>
            <a:ext cx="2688877" cy="3032998"/>
          </a:xfrm>
          <a:prstGeom prst="arc">
            <a:avLst>
              <a:gd name="adj1" fmla="val 16200000"/>
              <a:gd name="adj2" fmla="val 20735834"/>
            </a:avLst>
          </a:prstGeom>
          <a:noFill/>
          <a:ln w="63500" cap="flat" cmpd="sng" algn="ctr">
            <a:solidFill>
              <a:srgbClr val="002060"/>
            </a:solidFill>
            <a:prstDash val="solid"/>
            <a:round/>
            <a:headEnd type="none" w="lg" len="lg"/>
            <a:tailEnd type="stealth" w="lg" len="lg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3C059C74-4376-43E4-9B0D-2A414E98673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537222" y="1570918"/>
            <a:ext cx="1627863" cy="422292"/>
          </a:xfrm>
          <a:prstGeom prst="rect">
            <a:avLst/>
          </a:prstGeom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E630FED8-D612-4B86-9FEC-C3DF831797E4}"/>
              </a:ext>
            </a:extLst>
          </p:cNvPr>
          <p:cNvGrpSpPr/>
          <p:nvPr/>
        </p:nvGrpSpPr>
        <p:grpSpPr>
          <a:xfrm>
            <a:off x="8439638" y="2971128"/>
            <a:ext cx="1465001" cy="1366989"/>
            <a:chOff x="7158138" y="2760718"/>
            <a:chExt cx="1465001" cy="1366989"/>
          </a:xfrm>
        </p:grpSpPr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A5DB59C9-0E02-474F-AE35-8BEEE489A5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324256" y="3141153"/>
              <a:ext cx="1236108" cy="639268"/>
            </a:xfrm>
            <a:prstGeom prst="rect">
              <a:avLst/>
            </a:prstGeom>
          </p:spPr>
        </p:pic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C68297F8-C2D1-4415-942F-9115164D6E1E}"/>
                </a:ext>
              </a:extLst>
            </p:cNvPr>
            <p:cNvSpPr/>
            <p:nvPr/>
          </p:nvSpPr>
          <p:spPr>
            <a:xfrm>
              <a:off x="7158138" y="2760718"/>
              <a:ext cx="1465001" cy="1366989"/>
            </a:xfrm>
            <a:prstGeom prst="ellipse">
              <a:avLst/>
            </a:prstGeom>
            <a:solidFill>
              <a:schemeClr val="accent2">
                <a:alpha val="14000"/>
              </a:schemeClr>
            </a:solidFill>
            <a:ln w="666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365E67B-DCA9-4756-9FF7-9F5DB1664607}"/>
              </a:ext>
            </a:extLst>
          </p:cNvPr>
          <p:cNvGrpSpPr/>
          <p:nvPr/>
        </p:nvGrpSpPr>
        <p:grpSpPr>
          <a:xfrm>
            <a:off x="10502749" y="3320886"/>
            <a:ext cx="1150255" cy="1018810"/>
            <a:chOff x="8969448" y="1289388"/>
            <a:chExt cx="1175905" cy="1343336"/>
          </a:xfrm>
        </p:grpSpPr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B913346A-EEA8-46BD-9C81-D1C816EA89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9108240" y="1738672"/>
              <a:ext cx="898320" cy="894052"/>
            </a:xfrm>
            <a:prstGeom prst="rect">
              <a:avLst/>
            </a:prstGeom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0FD7E30B-1C3D-4009-A038-AA9DCD2E0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8969448" y="1289388"/>
              <a:ext cx="1175905" cy="449284"/>
            </a:xfrm>
            <a:prstGeom prst="rect">
              <a:avLst/>
            </a:prstGeom>
          </p:spPr>
        </p:pic>
      </p:grpSp>
      <p:pic>
        <p:nvPicPr>
          <p:cNvPr id="82" name="Picture 81">
            <a:extLst>
              <a:ext uri="{FF2B5EF4-FFF2-40B4-BE49-F238E27FC236}">
                <a16:creationId xmlns:a16="http://schemas.microsoft.com/office/drawing/2014/main" id="{AE54C8C2-DC4F-441A-B097-54C98488AF7F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712" y="4479482"/>
            <a:ext cx="1160707" cy="843649"/>
          </a:xfrm>
          <a:prstGeom prst="rect">
            <a:avLst/>
          </a:prstGeom>
          <a:noFill/>
          <a:ln>
            <a:noFill/>
          </a:ln>
        </p:spPr>
      </p:pic>
      <p:sp>
        <p:nvSpPr>
          <p:cNvPr id="84" name="Rounded Rectangle 12">
            <a:extLst>
              <a:ext uri="{FF2B5EF4-FFF2-40B4-BE49-F238E27FC236}">
                <a16:creationId xmlns:a16="http://schemas.microsoft.com/office/drawing/2014/main" id="{EE5F4648-211E-4096-9649-B13B67F08168}"/>
              </a:ext>
            </a:extLst>
          </p:cNvPr>
          <p:cNvSpPr/>
          <p:nvPr/>
        </p:nvSpPr>
        <p:spPr bwMode="auto">
          <a:xfrm>
            <a:off x="322755" y="4347853"/>
            <a:ext cx="1714500" cy="1714500"/>
          </a:xfrm>
          <a:prstGeom prst="roundRect">
            <a:avLst/>
          </a:prstGeom>
          <a:noFill/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2462485-0B1C-4295-9B52-8D3ABC74288A}"/>
              </a:ext>
            </a:extLst>
          </p:cNvPr>
          <p:cNvSpPr txBox="1"/>
          <p:nvPr/>
        </p:nvSpPr>
        <p:spPr>
          <a:xfrm>
            <a:off x="630321" y="5872427"/>
            <a:ext cx="1463363" cy="52848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Enterprise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 Application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75829D8C-65F9-44C4-B6D0-C73D76E44B8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97395" y="4650185"/>
            <a:ext cx="1402590" cy="286029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2F27F9E0-C8D2-4286-A6EC-C3C66FF9C658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62135" y="5088170"/>
            <a:ext cx="1187877" cy="548514"/>
          </a:xfrm>
          <a:prstGeom prst="rect">
            <a:avLst/>
          </a:prstGeom>
        </p:spPr>
      </p:pic>
      <p:sp>
        <p:nvSpPr>
          <p:cNvPr id="89" name="Arc 88">
            <a:extLst>
              <a:ext uri="{FF2B5EF4-FFF2-40B4-BE49-F238E27FC236}">
                <a16:creationId xmlns:a16="http://schemas.microsoft.com/office/drawing/2014/main" id="{92A6E37D-D98B-4331-858E-14DC784587D1}"/>
              </a:ext>
            </a:extLst>
          </p:cNvPr>
          <p:cNvSpPr/>
          <p:nvPr/>
        </p:nvSpPr>
        <p:spPr bwMode="auto">
          <a:xfrm rot="7012908">
            <a:off x="4722891" y="3491132"/>
            <a:ext cx="1757881" cy="4076243"/>
          </a:xfrm>
          <a:prstGeom prst="arc">
            <a:avLst>
              <a:gd name="adj1" fmla="val 16200000"/>
              <a:gd name="adj2" fmla="val 20735834"/>
            </a:avLst>
          </a:prstGeom>
          <a:noFill/>
          <a:ln w="63500" cap="flat" cmpd="sng" algn="ctr">
            <a:solidFill>
              <a:srgbClr val="002060"/>
            </a:solidFill>
            <a:prstDash val="solid"/>
            <a:round/>
            <a:headEnd type="none" w="lg" len="lg"/>
            <a:tailEnd type="stealth" w="lg" len="lg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90" name="Arc 89">
            <a:extLst>
              <a:ext uri="{FF2B5EF4-FFF2-40B4-BE49-F238E27FC236}">
                <a16:creationId xmlns:a16="http://schemas.microsoft.com/office/drawing/2014/main" id="{DA455AD6-601F-4D76-AB00-B4835A6A0246}"/>
              </a:ext>
            </a:extLst>
          </p:cNvPr>
          <p:cNvSpPr/>
          <p:nvPr/>
        </p:nvSpPr>
        <p:spPr bwMode="auto">
          <a:xfrm rot="7012908">
            <a:off x="2481921" y="3465655"/>
            <a:ext cx="1757881" cy="4076243"/>
          </a:xfrm>
          <a:prstGeom prst="arc">
            <a:avLst>
              <a:gd name="adj1" fmla="val 16200000"/>
              <a:gd name="adj2" fmla="val 20735834"/>
            </a:avLst>
          </a:prstGeom>
          <a:noFill/>
          <a:ln w="63500" cap="flat" cmpd="sng" algn="ctr">
            <a:solidFill>
              <a:srgbClr val="002060"/>
            </a:solidFill>
            <a:prstDash val="solid"/>
            <a:round/>
            <a:headEnd type="none" w="lg" len="lg"/>
            <a:tailEnd type="stealth" w="lg" len="lg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2"/>
              </a:solidFill>
              <a:effectLst/>
              <a:latin typeface="Calibri" panose="020F0502020204030204" pitchFamily="34" charset="0"/>
            </a:endParaRPr>
          </a:p>
        </p:txBody>
      </p:sp>
      <p:cxnSp>
        <p:nvCxnSpPr>
          <p:cNvPr id="63" name="Connector: Curved 62">
            <a:extLst>
              <a:ext uri="{FF2B5EF4-FFF2-40B4-BE49-F238E27FC236}">
                <a16:creationId xmlns:a16="http://schemas.microsoft.com/office/drawing/2014/main" id="{7F4D5551-65E8-4BC7-BDF1-80D8A8552D29}"/>
              </a:ext>
            </a:extLst>
          </p:cNvPr>
          <p:cNvCxnSpPr>
            <a:cxnSpLocks/>
            <a:stCxn id="49" idx="1"/>
            <a:endCxn id="84" idx="0"/>
          </p:cNvCxnSpPr>
          <p:nvPr/>
        </p:nvCxnSpPr>
        <p:spPr>
          <a:xfrm rot="10800000" flipV="1">
            <a:off x="1180005" y="3790919"/>
            <a:ext cx="5419780" cy="556934"/>
          </a:xfrm>
          <a:prstGeom prst="curvedConnector2">
            <a:avLst/>
          </a:prstGeom>
          <a:ln w="57150">
            <a:solidFill>
              <a:schemeClr val="accent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9199422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63291FC9-A583-4B6D-B635-2D44E93DD6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866" y="342731"/>
            <a:ext cx="12192000" cy="5590298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B08B4A-D3ED-4467-BEF5-58B96FF2CD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367" y="6251475"/>
            <a:ext cx="3576793" cy="365125"/>
          </a:xfrm>
        </p:spPr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3986B23-BC65-47E0-AB18-F542664CF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0488" y="0"/>
            <a:ext cx="9229928" cy="685462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+mn-lt"/>
              </a:rPr>
              <a:t>ML Data Archite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EBF8FB-4C52-4787-BA04-F521773486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921" y="196963"/>
            <a:ext cx="1390567" cy="291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792847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08CFD18-5DC3-41A4-911F-EDC41E8D3DF3}"/>
              </a:ext>
            </a:extLst>
          </p:cNvPr>
          <p:cNvGraphicFramePr/>
          <p:nvPr/>
        </p:nvGraphicFramePr>
        <p:xfrm>
          <a:off x="3761703" y="389567"/>
          <a:ext cx="10095886" cy="63866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4F6050-C06C-4089-A0DA-150645DE7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5738" y="214754"/>
            <a:ext cx="7621657" cy="850169"/>
          </a:xfrm>
        </p:spPr>
        <p:txBody>
          <a:bodyPr/>
          <a:lstStyle/>
          <a:p>
            <a:r>
              <a:rPr lang="en-US" sz="2800" dirty="0"/>
              <a:t>Digital Platform Modu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CA507B-73F0-4298-B11F-4A53B1B60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367" y="6251475"/>
            <a:ext cx="3576793" cy="365125"/>
          </a:xfrm>
        </p:spPr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4ABC05-1C67-44D9-ACAD-294E1957A2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1306" y="430669"/>
            <a:ext cx="1596198" cy="3346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5EB457-F0F7-4784-8392-786F3543F5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75759" y="3211205"/>
            <a:ext cx="1132364" cy="23740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A204E2D-808B-453D-BA4C-7AF8548755E5}"/>
              </a:ext>
            </a:extLst>
          </p:cNvPr>
          <p:cNvSpPr/>
          <p:nvPr/>
        </p:nvSpPr>
        <p:spPr>
          <a:xfrm flipH="1">
            <a:off x="8112893" y="3448608"/>
            <a:ext cx="1393506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Smar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0786963-B25A-4837-8D72-B468D7ADEC6D}"/>
              </a:ext>
            </a:extLst>
          </p:cNvPr>
          <p:cNvSpPr txBox="1"/>
          <p:nvPr/>
        </p:nvSpPr>
        <p:spPr>
          <a:xfrm>
            <a:off x="661747" y="2013217"/>
            <a:ext cx="564642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6">
                    <a:lumMod val="25000"/>
                  </a:schemeClr>
                </a:solidFill>
              </a:rPr>
              <a:t>Service at Order &amp; Scheduling lev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Order Risk Analysis by City Pair, Carrier, Service Level and Seasonal Tren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CO2e Aware Advis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Freight Movement Consolid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Carrier Advisor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Milestone Intellige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Freight Movement Consolid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accent6">
                  <a:lumMod val="25000"/>
                </a:schemeClr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A33B49E-B888-42B3-9B59-4243B2C7A1BC}"/>
              </a:ext>
            </a:extLst>
          </p:cNvPr>
          <p:cNvSpPr txBox="1"/>
          <p:nvPr/>
        </p:nvSpPr>
        <p:spPr>
          <a:xfrm>
            <a:off x="661747" y="4413874"/>
            <a:ext cx="56464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6">
                    <a:lumMod val="25000"/>
                  </a:schemeClr>
                </a:solidFill>
              </a:rPr>
              <a:t>Service at Network Plan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Load Forecast on Route &amp; La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Hub Optimiz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>
                    <a:lumMod val="25000"/>
                  </a:schemeClr>
                </a:solidFill>
              </a:rPr>
              <a:t>Freight Cost Index &amp; Trend (FSS)</a:t>
            </a:r>
          </a:p>
          <a:p>
            <a:r>
              <a:rPr lang="en-US" b="1" dirty="0">
                <a:solidFill>
                  <a:srgbClr val="002060"/>
                </a:solidFill>
              </a:rPr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63D216-DF4D-4E20-A6D3-700384BE8F46}"/>
              </a:ext>
            </a:extLst>
          </p:cNvPr>
          <p:cNvSpPr txBox="1"/>
          <p:nvPr/>
        </p:nvSpPr>
        <p:spPr>
          <a:xfrm>
            <a:off x="688973" y="966798"/>
            <a:ext cx="59003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upply Chain Intelligence as a service (</a:t>
            </a:r>
            <a:r>
              <a:rPr lang="en-US" b="1" dirty="0" err="1">
                <a:solidFill>
                  <a:schemeClr val="accent6"/>
                </a:solidFill>
              </a:rPr>
              <a:t>SCIaas</a:t>
            </a:r>
            <a:r>
              <a:rPr lang="en-US" b="1" dirty="0">
                <a:solidFill>
                  <a:schemeClr val="accent6"/>
                </a:solidFill>
              </a:rPr>
              <a:t>)</a:t>
            </a:r>
          </a:p>
          <a:p>
            <a:r>
              <a:rPr lang="en-US" b="1" dirty="0">
                <a:solidFill>
                  <a:schemeClr val="accent6"/>
                </a:solidFill>
              </a:rPr>
              <a:t>Machine Intelligence as a service (</a:t>
            </a:r>
            <a:r>
              <a:rPr lang="en-US" b="1" dirty="0" err="1">
                <a:solidFill>
                  <a:schemeClr val="accent6"/>
                </a:solidFill>
              </a:rPr>
              <a:t>MIaas</a:t>
            </a:r>
            <a:r>
              <a:rPr lang="en-US" b="1" dirty="0">
                <a:solidFill>
                  <a:schemeClr val="accent6"/>
                </a:solidFill>
              </a:rPr>
              <a:t>)</a:t>
            </a:r>
          </a:p>
          <a:p>
            <a:r>
              <a:rPr lang="en-US" b="1" dirty="0">
                <a:solidFill>
                  <a:schemeClr val="accent6"/>
                </a:solidFill>
              </a:rPr>
              <a:t>Supply Chain Smart API?</a:t>
            </a:r>
          </a:p>
          <a:p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ABF5920-E060-4D28-972C-F4F4AD9BA3A5}"/>
              </a:ext>
            </a:extLst>
          </p:cNvPr>
          <p:cNvGrpSpPr/>
          <p:nvPr/>
        </p:nvGrpSpPr>
        <p:grpSpPr>
          <a:xfrm>
            <a:off x="10829925" y="2600325"/>
            <a:ext cx="1347401" cy="1228725"/>
            <a:chOff x="10829925" y="2600325"/>
            <a:chExt cx="1347401" cy="1228725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303CAD1-6A8A-4C89-8CA3-616248AC2BE7}"/>
                </a:ext>
              </a:extLst>
            </p:cNvPr>
            <p:cNvSpPr/>
            <p:nvPr/>
          </p:nvSpPr>
          <p:spPr>
            <a:xfrm>
              <a:off x="10829925" y="2600325"/>
              <a:ext cx="1275788" cy="1228725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49DDE9C0-894B-43D6-A38B-BD8AC8A8414A}"/>
                </a:ext>
              </a:extLst>
            </p:cNvPr>
            <p:cNvGrpSpPr/>
            <p:nvPr/>
          </p:nvGrpSpPr>
          <p:grpSpPr>
            <a:xfrm>
              <a:off x="10917532" y="3081614"/>
              <a:ext cx="1259794" cy="365431"/>
              <a:chOff x="8163957" y="2296958"/>
              <a:chExt cx="4027110" cy="1127714"/>
            </a:xfrm>
          </p:grpSpPr>
          <p:pic>
            <p:nvPicPr>
              <p:cNvPr id="24" name="Picture 23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4E1F7212-17A3-4892-9175-3930F6CD7A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sharpenSoften amount="-50000"/>
                        </a14:imgEffect>
                        <a14:imgEffect>
                          <a14:brightnessContrast brigh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63957" y="2296958"/>
                <a:ext cx="1687611" cy="934742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927A1B6-8271-4618-BD31-51CF5090575D}"/>
                  </a:ext>
                </a:extLst>
              </p:cNvPr>
              <p:cNvSpPr txBox="1"/>
              <p:nvPr/>
            </p:nvSpPr>
            <p:spPr>
              <a:xfrm>
                <a:off x="9622652" y="2569858"/>
                <a:ext cx="2568415" cy="8548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rgbClr val="07693D"/>
                    </a:solidFill>
                  </a:rPr>
                  <a:t>e-aware</a:t>
                </a:r>
              </a:p>
            </p:txBody>
          </p:sp>
        </p:grp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1F783A8-AEF7-4693-8814-3C196CCD97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1397637" y="3051262"/>
              <a:ext cx="641836" cy="1828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4466257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04A27EEB-8523-4924-B232-1F9BAEBB19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7634" y="3844801"/>
            <a:ext cx="6737172" cy="251918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4137AEE6-9B92-4195-9296-03E5DFEEC422}"/>
              </a:ext>
            </a:extLst>
          </p:cNvPr>
          <p:cNvSpPr/>
          <p:nvPr/>
        </p:nvSpPr>
        <p:spPr>
          <a:xfrm>
            <a:off x="1401663" y="2220477"/>
            <a:ext cx="2151943" cy="2061077"/>
          </a:xfrm>
          <a:prstGeom prst="ellipse">
            <a:avLst/>
          </a:prstGeom>
          <a:solidFill>
            <a:srgbClr val="FCFFD1"/>
          </a:solidFill>
          <a:ln w="76200">
            <a:solidFill>
              <a:srgbClr val="07693D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79F95A-9F6B-42C7-B3AE-C468B0E1D1C1}"/>
              </a:ext>
            </a:extLst>
          </p:cNvPr>
          <p:cNvGrpSpPr/>
          <p:nvPr/>
        </p:nvGrpSpPr>
        <p:grpSpPr>
          <a:xfrm>
            <a:off x="1549433" y="3027798"/>
            <a:ext cx="1933822" cy="530753"/>
            <a:chOff x="8163957" y="2296958"/>
            <a:chExt cx="3664865" cy="976442"/>
          </a:xfrm>
        </p:grpSpPr>
        <p:pic>
          <p:nvPicPr>
            <p:cNvPr id="6" name="Picture 5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FE184CD7-31E9-43D2-BAED-ED911FEE1A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50000"/>
                      </a14:imgEffect>
                      <a14:imgEffect>
                        <a14:brightnessContrast brigh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63957" y="2296958"/>
              <a:ext cx="1687611" cy="934742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41E2FDC-43B4-4F31-A84B-0C0812E9FDCD}"/>
                </a:ext>
              </a:extLst>
            </p:cNvPr>
            <p:cNvSpPr txBox="1"/>
            <p:nvPr/>
          </p:nvSpPr>
          <p:spPr>
            <a:xfrm>
              <a:off x="9815574" y="2593929"/>
              <a:ext cx="2013248" cy="6794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07693D"/>
                  </a:solidFill>
                </a:rPr>
                <a:t>e-aware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6F37BDF7-CC24-4400-BBE5-C4149C2095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67007" y="2959251"/>
            <a:ext cx="1062322" cy="322590"/>
          </a:xfrm>
          <a:prstGeom prst="rect">
            <a:avLst/>
          </a:prstGeom>
        </p:spPr>
      </p:pic>
      <p:sp>
        <p:nvSpPr>
          <p:cNvPr id="19" name="Arrow: Right 18">
            <a:extLst>
              <a:ext uri="{FF2B5EF4-FFF2-40B4-BE49-F238E27FC236}">
                <a16:creationId xmlns:a16="http://schemas.microsoft.com/office/drawing/2014/main" id="{FB98D348-4330-4D0E-9FB4-4D797122DC2D}"/>
              </a:ext>
            </a:extLst>
          </p:cNvPr>
          <p:cNvSpPr/>
          <p:nvPr/>
        </p:nvSpPr>
        <p:spPr>
          <a:xfrm>
            <a:off x="7514561" y="2915176"/>
            <a:ext cx="569911" cy="596729"/>
          </a:xfrm>
          <a:prstGeom prst="rightArrow">
            <a:avLst/>
          </a:prstGeom>
          <a:solidFill>
            <a:srgbClr val="07693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highlight>
                <a:srgbClr val="1BA991"/>
              </a:highlight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BE362018-7E64-4EBD-AD37-59915548AAE7}"/>
              </a:ext>
            </a:extLst>
          </p:cNvPr>
          <p:cNvSpPr/>
          <p:nvPr/>
        </p:nvSpPr>
        <p:spPr>
          <a:xfrm>
            <a:off x="4037559" y="2930809"/>
            <a:ext cx="569911" cy="596729"/>
          </a:xfrm>
          <a:prstGeom prst="rightArrow">
            <a:avLst/>
          </a:prstGeom>
          <a:solidFill>
            <a:srgbClr val="07693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highlight>
                <a:srgbClr val="1BA991"/>
              </a:highlight>
            </a:endParaRPr>
          </a:p>
        </p:txBody>
      </p:sp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AF9A35A2-0D3B-48B2-B129-9718545B6A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89" y="450148"/>
            <a:ext cx="1905783" cy="66624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D1813AB-739F-4B2A-82C6-22F9F796FD51}"/>
              </a:ext>
            </a:extLst>
          </p:cNvPr>
          <p:cNvSpPr txBox="1"/>
          <p:nvPr/>
        </p:nvSpPr>
        <p:spPr>
          <a:xfrm>
            <a:off x="2428672" y="326480"/>
            <a:ext cx="227813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7693D"/>
                </a:solidFill>
              </a:rPr>
              <a:t>GREEN COPONENT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0B0803A-D143-46E2-BA66-6B70E8ACD64C}"/>
              </a:ext>
            </a:extLst>
          </p:cNvPr>
          <p:cNvGrpSpPr/>
          <p:nvPr/>
        </p:nvGrpSpPr>
        <p:grpSpPr>
          <a:xfrm>
            <a:off x="10019666" y="358079"/>
            <a:ext cx="2172334" cy="753620"/>
            <a:chOff x="741329" y="1373164"/>
            <a:chExt cx="2172334" cy="753620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3E490A4-A5F7-48A5-9CF1-7C0CC01F7768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69E2FC86-0205-4C50-83CB-7087125279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CD3C9B2-0132-4CFA-80B8-DB7B484ECAF7}"/>
              </a:ext>
            </a:extLst>
          </p:cNvPr>
          <p:cNvGrpSpPr/>
          <p:nvPr/>
        </p:nvGrpSpPr>
        <p:grpSpPr>
          <a:xfrm>
            <a:off x="4970814" y="2158680"/>
            <a:ext cx="2151943" cy="2061077"/>
            <a:chOff x="4970814" y="2158680"/>
            <a:chExt cx="2151943" cy="2061077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1BA8671-5F3D-40E3-8359-8B2149508B31}"/>
                </a:ext>
              </a:extLst>
            </p:cNvPr>
            <p:cNvSpPr/>
            <p:nvPr/>
          </p:nvSpPr>
          <p:spPr>
            <a:xfrm>
              <a:off x="4970814" y="2158680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958B24E-36B6-4ACA-93AF-3A3486C9E0E2}"/>
                </a:ext>
              </a:extLst>
            </p:cNvPr>
            <p:cNvGrpSpPr/>
            <p:nvPr/>
          </p:nvGrpSpPr>
          <p:grpSpPr>
            <a:xfrm>
              <a:off x="5214651" y="2802807"/>
              <a:ext cx="1762698" cy="980821"/>
              <a:chOff x="5258145" y="3173216"/>
              <a:chExt cx="2346819" cy="1301010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21F70C6-60CA-427C-9D1C-0EBA2D792762}"/>
                  </a:ext>
                </a:extLst>
              </p:cNvPr>
              <p:cNvSpPr txBox="1"/>
              <p:nvPr/>
            </p:nvSpPr>
            <p:spPr>
              <a:xfrm>
                <a:off x="5258145" y="3657726"/>
                <a:ext cx="2346819" cy="816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rgbClr val="07693D"/>
                    </a:solidFill>
                  </a:rPr>
                  <a:t>Knows Co2</a:t>
                </a:r>
              </a:p>
              <a:p>
                <a:pPr algn="ctr"/>
                <a:r>
                  <a:rPr lang="en-US" b="1" dirty="0">
                    <a:solidFill>
                      <a:srgbClr val="07693D"/>
                    </a:solidFill>
                  </a:rPr>
                  <a:t>Co2 Intelligence</a:t>
                </a:r>
              </a:p>
            </p:txBody>
          </p: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7F0D605E-A5A5-4888-A1BD-CAA18F7D35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357446" y="3173216"/>
                <a:ext cx="1944794" cy="590566"/>
              </a:xfrm>
              <a:prstGeom prst="rect">
                <a:avLst/>
              </a:prstGeom>
            </p:spPr>
          </p:pic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AD147EB-C9AC-4B1F-B884-DFEC0D6A760B}"/>
              </a:ext>
            </a:extLst>
          </p:cNvPr>
          <p:cNvGrpSpPr/>
          <p:nvPr/>
        </p:nvGrpSpPr>
        <p:grpSpPr>
          <a:xfrm>
            <a:off x="8457256" y="2158680"/>
            <a:ext cx="2478964" cy="2061077"/>
            <a:chOff x="8457256" y="2158680"/>
            <a:chExt cx="2478964" cy="2061077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C3ED4FD-44CB-4CF4-98B9-7ADB50E6C4E7}"/>
                </a:ext>
              </a:extLst>
            </p:cNvPr>
            <p:cNvSpPr/>
            <p:nvPr/>
          </p:nvSpPr>
          <p:spPr>
            <a:xfrm>
              <a:off x="8457256" y="2158680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68C225DC-3953-4D95-83F7-296F71467931}"/>
                </a:ext>
              </a:extLst>
            </p:cNvPr>
            <p:cNvGrpSpPr/>
            <p:nvPr/>
          </p:nvGrpSpPr>
          <p:grpSpPr>
            <a:xfrm>
              <a:off x="8605912" y="2660243"/>
              <a:ext cx="2330308" cy="1153971"/>
              <a:chOff x="5611334" y="742367"/>
              <a:chExt cx="2330308" cy="1153971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AC16D27-203F-4449-9C5A-C3159F55DEB7}"/>
                  </a:ext>
                </a:extLst>
              </p:cNvPr>
              <p:cNvGrpSpPr/>
              <p:nvPr/>
            </p:nvGrpSpPr>
            <p:grpSpPr>
              <a:xfrm>
                <a:off x="5611334" y="742367"/>
                <a:ext cx="1870564" cy="830997"/>
                <a:chOff x="632720" y="1284355"/>
                <a:chExt cx="1870564" cy="830997"/>
              </a:xfrm>
            </p:grpSpPr>
            <p:pic>
              <p:nvPicPr>
                <p:cNvPr id="15" name="Picture 14" descr="A picture containing text&#10;&#10;Description automatically generated">
                  <a:extLst>
                    <a:ext uri="{FF2B5EF4-FFF2-40B4-BE49-F238E27FC236}">
                      <a16:creationId xmlns:a16="http://schemas.microsoft.com/office/drawing/2014/main" id="{61980B41-4F88-4F71-AC1C-7869B168BE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rightnessContrast bright="-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2720" y="1334693"/>
                  <a:ext cx="1468890" cy="637988"/>
                </a:xfrm>
                <a:prstGeom prst="rect">
                  <a:avLst/>
                </a:prstGeom>
              </p:spPr>
            </p:pic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1F87DBAD-2B8A-44B9-95F0-D406F323EC2E}"/>
                    </a:ext>
                  </a:extLst>
                </p:cNvPr>
                <p:cNvSpPr/>
                <p:nvPr/>
              </p:nvSpPr>
              <p:spPr>
                <a:xfrm>
                  <a:off x="2009238" y="1284355"/>
                  <a:ext cx="494046" cy="830997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ctr"/>
                  <a:r>
                    <a:rPr lang="en-US" sz="4800" b="1" cap="none" spc="0" dirty="0">
                      <a:ln w="0"/>
                      <a:solidFill>
                        <a:srgbClr val="065A34"/>
                      </a:solidFill>
                      <a:effectLst>
                        <a:outerShdw blurRad="38100" dist="19050" dir="2700000" algn="tl" rotWithShape="0">
                          <a:schemeClr val="dk1">
                            <a:alpha val="40000"/>
                          </a:schemeClr>
                        </a:outerShdw>
                      </a:effectLst>
                    </a:rPr>
                    <a:t>e</a:t>
                  </a:r>
                </a:p>
              </p:txBody>
            </p:sp>
          </p:grp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0A0ED03-A378-47E8-8089-135C0458537D}"/>
                  </a:ext>
                </a:extLst>
              </p:cNvPr>
              <p:cNvSpPr txBox="1"/>
              <p:nvPr/>
            </p:nvSpPr>
            <p:spPr>
              <a:xfrm>
                <a:off x="5619456" y="1311563"/>
                <a:ext cx="2322186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3200" b="1" cap="none" spc="0" dirty="0">
                    <a:ln w="0"/>
                    <a:solidFill>
                      <a:srgbClr val="065A34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Discovery</a:t>
                </a:r>
                <a:endParaRPr lang="en-US" sz="32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1299091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5997DFA-9A02-4BDF-93E8-A0E641109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9A38DC3-DBD6-4289-A84A-51D65F99A6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1926AF-88C7-4E7C-8DFD-1B537844CF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65125"/>
            <a:ext cx="11217048" cy="634489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A8C44C0-3A19-4798-94FB-5687FA93938C}"/>
              </a:ext>
            </a:extLst>
          </p:cNvPr>
          <p:cNvSpPr/>
          <p:nvPr/>
        </p:nvSpPr>
        <p:spPr>
          <a:xfrm>
            <a:off x="705678" y="248478"/>
            <a:ext cx="10744200" cy="2385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94990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669AEBDA-CD42-4BF3-B824-08E4792B8F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7749723"/>
              </p:ext>
            </p:extLst>
          </p:nvPr>
        </p:nvGraphicFramePr>
        <p:xfrm>
          <a:off x="1873420" y="2703598"/>
          <a:ext cx="9554765" cy="36091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4CFA006D-15AB-4C18-A306-8C79FC3E2B9F}"/>
              </a:ext>
            </a:extLst>
          </p:cNvPr>
          <p:cNvGrpSpPr/>
          <p:nvPr/>
        </p:nvGrpSpPr>
        <p:grpSpPr>
          <a:xfrm>
            <a:off x="572046" y="258233"/>
            <a:ext cx="2151943" cy="2061077"/>
            <a:chOff x="711217" y="501425"/>
            <a:chExt cx="2151943" cy="2061077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14BA0EC-79DD-4458-BA57-416AFB2C1F01}"/>
                </a:ext>
              </a:extLst>
            </p:cNvPr>
            <p:cNvSpPr/>
            <p:nvPr/>
          </p:nvSpPr>
          <p:spPr>
            <a:xfrm>
              <a:off x="711217" y="501425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C3FBBEF-0E26-4AFD-B974-62C2631851C1}"/>
                </a:ext>
              </a:extLst>
            </p:cNvPr>
            <p:cNvGrpSpPr/>
            <p:nvPr/>
          </p:nvGrpSpPr>
          <p:grpSpPr>
            <a:xfrm>
              <a:off x="858987" y="1308746"/>
              <a:ext cx="1933822" cy="530753"/>
              <a:chOff x="8163957" y="2296958"/>
              <a:chExt cx="3664865" cy="976442"/>
            </a:xfrm>
          </p:grpSpPr>
          <p:pic>
            <p:nvPicPr>
              <p:cNvPr id="45" name="Picture 44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A3E5DA3F-B0D5-42FC-BB2E-27C08FEB6E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sharpenSoften amount="-50000"/>
                        </a14:imgEffect>
                        <a14:imgEffect>
                          <a14:brightnessContrast brigh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63957" y="2296958"/>
                <a:ext cx="1687611" cy="934742"/>
              </a:xfrm>
              <a:prstGeom prst="rect">
                <a:avLst/>
              </a:prstGeom>
            </p:spPr>
          </p:pic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5FB71EBC-6670-4CAD-8872-BB355DA94F80}"/>
                  </a:ext>
                </a:extLst>
              </p:cNvPr>
              <p:cNvSpPr txBox="1"/>
              <p:nvPr/>
            </p:nvSpPr>
            <p:spPr>
              <a:xfrm>
                <a:off x="9815574" y="2593929"/>
                <a:ext cx="2013248" cy="679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rgbClr val="07693D"/>
                    </a:solidFill>
                  </a:rPr>
                  <a:t>e-aware</a:t>
                </a:r>
              </a:p>
            </p:txBody>
          </p:sp>
        </p:grp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FD28C90F-EF5F-4908-BD6B-2A6855C5D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576561" y="1240199"/>
              <a:ext cx="1062322" cy="322590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40100AC-6A1B-46E1-B163-6798681C7418}"/>
              </a:ext>
            </a:extLst>
          </p:cNvPr>
          <p:cNvGrpSpPr/>
          <p:nvPr/>
        </p:nvGrpSpPr>
        <p:grpSpPr>
          <a:xfrm>
            <a:off x="10019666" y="358079"/>
            <a:ext cx="2172334" cy="753620"/>
            <a:chOff x="741329" y="1373164"/>
            <a:chExt cx="2172334" cy="75362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6B701A4-6CEE-4FC2-8670-5BAFBFF08A67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5377162F-BB03-401E-99E0-002B19157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44C3A82-9820-4ECE-B8E1-CB7F060375AA}"/>
              </a:ext>
            </a:extLst>
          </p:cNvPr>
          <p:cNvSpPr txBox="1"/>
          <p:nvPr/>
        </p:nvSpPr>
        <p:spPr>
          <a:xfrm>
            <a:off x="4797835" y="1856714"/>
            <a:ext cx="4283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7693D"/>
                </a:solidFill>
              </a:rPr>
              <a:t>OUR APPROACH</a:t>
            </a:r>
          </a:p>
        </p:txBody>
      </p:sp>
      <p:pic>
        <p:nvPicPr>
          <p:cNvPr id="12" name="Graphic 11" descr="Leaf with solid fill">
            <a:extLst>
              <a:ext uri="{FF2B5EF4-FFF2-40B4-BE49-F238E27FC236}">
                <a16:creationId xmlns:a16="http://schemas.microsoft.com/office/drawing/2014/main" id="{077C60B1-0C65-4CF0-A625-FB001891DE0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08123" y="3911209"/>
            <a:ext cx="428707" cy="428707"/>
          </a:xfrm>
          <a:prstGeom prst="rect">
            <a:avLst/>
          </a:prstGeom>
        </p:spPr>
      </p:pic>
      <p:pic>
        <p:nvPicPr>
          <p:cNvPr id="26" name="Graphic 25" descr="Leaf with solid fill">
            <a:extLst>
              <a:ext uri="{FF2B5EF4-FFF2-40B4-BE49-F238E27FC236}">
                <a16:creationId xmlns:a16="http://schemas.microsoft.com/office/drawing/2014/main" id="{B9014661-D6AC-450C-B5B7-6448FC0E07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873420" y="4541849"/>
            <a:ext cx="428707" cy="428707"/>
          </a:xfrm>
          <a:prstGeom prst="rect">
            <a:avLst/>
          </a:prstGeom>
        </p:spPr>
      </p:pic>
      <p:pic>
        <p:nvPicPr>
          <p:cNvPr id="27" name="Graphic 26" descr="Leaf with solid fill">
            <a:extLst>
              <a:ext uri="{FF2B5EF4-FFF2-40B4-BE49-F238E27FC236}">
                <a16:creationId xmlns:a16="http://schemas.microsoft.com/office/drawing/2014/main" id="{6E89F537-7802-45CC-992A-97661DCAE00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270650" y="3975630"/>
            <a:ext cx="428707" cy="428707"/>
          </a:xfrm>
          <a:prstGeom prst="rect">
            <a:avLst/>
          </a:prstGeom>
        </p:spPr>
      </p:pic>
      <p:pic>
        <p:nvPicPr>
          <p:cNvPr id="28" name="Graphic 27" descr="Leaf with solid fill">
            <a:extLst>
              <a:ext uri="{FF2B5EF4-FFF2-40B4-BE49-F238E27FC236}">
                <a16:creationId xmlns:a16="http://schemas.microsoft.com/office/drawing/2014/main" id="{860C9DF5-86F4-4DDE-83FF-33D256ABC0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270650" y="4800072"/>
            <a:ext cx="428707" cy="428707"/>
          </a:xfrm>
          <a:prstGeom prst="rect">
            <a:avLst/>
          </a:prstGeom>
        </p:spPr>
      </p:pic>
      <p:pic>
        <p:nvPicPr>
          <p:cNvPr id="29" name="Graphic 28" descr="Leaf with solid fill">
            <a:extLst>
              <a:ext uri="{FF2B5EF4-FFF2-40B4-BE49-F238E27FC236}">
                <a16:creationId xmlns:a16="http://schemas.microsoft.com/office/drawing/2014/main" id="{DCFF6678-735F-43DB-8F85-E00874FAF0F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18823" y="3915934"/>
            <a:ext cx="428707" cy="428707"/>
          </a:xfrm>
          <a:prstGeom prst="rect">
            <a:avLst/>
          </a:prstGeom>
        </p:spPr>
      </p:pic>
      <p:pic>
        <p:nvPicPr>
          <p:cNvPr id="30" name="Graphic 29" descr="Leaf with solid fill">
            <a:extLst>
              <a:ext uri="{FF2B5EF4-FFF2-40B4-BE49-F238E27FC236}">
                <a16:creationId xmlns:a16="http://schemas.microsoft.com/office/drawing/2014/main" id="{C5E22A5A-EE09-4E49-87E4-9AE4DF730C4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11287" y="4585718"/>
            <a:ext cx="428707" cy="42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521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422E7A3-F429-4007-A227-314F32691932}"/>
              </a:ext>
            </a:extLst>
          </p:cNvPr>
          <p:cNvGrpSpPr/>
          <p:nvPr/>
        </p:nvGrpSpPr>
        <p:grpSpPr>
          <a:xfrm>
            <a:off x="252332" y="80086"/>
            <a:ext cx="2151943" cy="2061077"/>
            <a:chOff x="4469692" y="336795"/>
            <a:chExt cx="2151943" cy="2061077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40F3838-9297-4D76-A362-90A7FD03C7BE}"/>
                </a:ext>
              </a:extLst>
            </p:cNvPr>
            <p:cNvSpPr/>
            <p:nvPr/>
          </p:nvSpPr>
          <p:spPr>
            <a:xfrm>
              <a:off x="4469692" y="336795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92C9F1F-BE1E-46E0-89D5-4FBB828780C2}"/>
                </a:ext>
              </a:extLst>
            </p:cNvPr>
            <p:cNvGrpSpPr/>
            <p:nvPr/>
          </p:nvGrpSpPr>
          <p:grpSpPr>
            <a:xfrm>
              <a:off x="4617462" y="1173299"/>
              <a:ext cx="1933822" cy="530753"/>
              <a:chOff x="8163957" y="2296958"/>
              <a:chExt cx="3664865" cy="976442"/>
            </a:xfrm>
          </p:grpSpPr>
          <p:pic>
            <p:nvPicPr>
              <p:cNvPr id="24" name="Picture 23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4E5A80EB-2486-427C-9596-0C226FB8E8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50000"/>
                        </a14:imgEffect>
                        <a14:imgEffect>
                          <a14:brightnessContrast brigh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63957" y="2296958"/>
                <a:ext cx="1687611" cy="934742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B5B8D61C-D91E-4ABA-BAF3-E50867B58C1A}"/>
                  </a:ext>
                </a:extLst>
              </p:cNvPr>
              <p:cNvSpPr txBox="1"/>
              <p:nvPr/>
            </p:nvSpPr>
            <p:spPr>
              <a:xfrm>
                <a:off x="9815574" y="2593929"/>
                <a:ext cx="2013248" cy="679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rgbClr val="07693D"/>
                    </a:solidFill>
                  </a:rPr>
                  <a:t>e-aware</a:t>
                </a:r>
              </a:p>
            </p:txBody>
          </p:sp>
        </p:grp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C06BFE54-35DF-4421-897F-A2BD4F3E2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5036" y="1104752"/>
              <a:ext cx="1062322" cy="322590"/>
            </a:xfrm>
            <a:prstGeom prst="rect">
              <a:avLst/>
            </a:prstGeom>
          </p:spPr>
        </p:pic>
      </p:grp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F0345C7F-36EF-4C9E-ACC5-12C549B5C3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7676" y="3259904"/>
            <a:ext cx="7972839" cy="2258460"/>
          </a:xfrm>
        </p:spPr>
        <p:txBody>
          <a:bodyPr/>
          <a:lstStyle/>
          <a:p>
            <a:r>
              <a:rPr lang="en-US" sz="1600" dirty="0">
                <a:solidFill>
                  <a:srgbClr val="07693D"/>
                </a:solidFill>
              </a:rPr>
              <a:t>Co2e emission factor  (per </a:t>
            </a:r>
            <a:r>
              <a:rPr lang="en-US" sz="1600" dirty="0" err="1">
                <a:solidFill>
                  <a:srgbClr val="07693D"/>
                </a:solidFill>
              </a:rPr>
              <a:t>Tonne</a:t>
            </a:r>
            <a:r>
              <a:rPr lang="en-US" sz="1600" dirty="0">
                <a:solidFill>
                  <a:srgbClr val="07693D"/>
                </a:solidFill>
              </a:rPr>
              <a:t> Km ), on truck 3.5t &gt; 7.5t &gt; 20t &gt; 40t</a:t>
            </a:r>
          </a:p>
          <a:p>
            <a:r>
              <a:rPr lang="en-US" sz="1600" dirty="0">
                <a:solidFill>
                  <a:srgbClr val="07693D"/>
                </a:solidFill>
              </a:rPr>
              <a:t>Based on cargo weight and select the minimum truck size CO2e factor</a:t>
            </a:r>
          </a:p>
          <a:p>
            <a:r>
              <a:rPr lang="en-US" sz="1600" b="1" u="sng" dirty="0">
                <a:solidFill>
                  <a:srgbClr val="07693D"/>
                </a:solidFill>
              </a:rPr>
              <a:t>Trip consolidation algorithms </a:t>
            </a:r>
            <a:r>
              <a:rPr lang="en-US" sz="1600" dirty="0">
                <a:solidFill>
                  <a:srgbClr val="07693D"/>
                </a:solidFill>
              </a:rPr>
              <a:t>based on [Origin] triggered at order level and advise consolidation </a:t>
            </a:r>
            <a:r>
              <a:rPr lang="en-US" sz="1600">
                <a:solidFill>
                  <a:srgbClr val="07693D"/>
                </a:solidFill>
              </a:rPr>
              <a:t>opportunities </a:t>
            </a:r>
          </a:p>
          <a:p>
            <a:r>
              <a:rPr lang="en-US" sz="1600">
                <a:solidFill>
                  <a:srgbClr val="07693D"/>
                </a:solidFill>
              </a:rPr>
              <a:t>Shipping </a:t>
            </a:r>
            <a:r>
              <a:rPr lang="en-US" sz="1600" dirty="0">
                <a:solidFill>
                  <a:srgbClr val="07693D"/>
                </a:solidFill>
              </a:rPr>
              <a:t>Unit Optimization from Package to Bulk/Pallet or Container</a:t>
            </a:r>
          </a:p>
          <a:p>
            <a:r>
              <a:rPr lang="en-US" sz="1600" dirty="0">
                <a:solidFill>
                  <a:srgbClr val="07693D"/>
                </a:solidFill>
              </a:rPr>
              <a:t>Rail route alert if city pair rail transits are available</a:t>
            </a:r>
          </a:p>
          <a:p>
            <a:endParaRPr lang="en-US" dirty="0"/>
          </a:p>
          <a:p>
            <a:pPr marL="1800" indent="0">
              <a:buNone/>
            </a:pPr>
            <a:endParaRPr lang="en-US" dirty="0"/>
          </a:p>
          <a:p>
            <a:pPr marL="1800" indent="0"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4CC14D-3762-4253-8A88-2DAA885AC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3F9BD1-6AF1-4C81-813E-BAA43221B291}"/>
              </a:ext>
            </a:extLst>
          </p:cNvPr>
          <p:cNvSpPr txBox="1"/>
          <p:nvPr/>
        </p:nvSpPr>
        <p:spPr>
          <a:xfrm flipH="1">
            <a:off x="702580" y="2636364"/>
            <a:ext cx="48655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7693D"/>
                </a:solidFill>
              </a:rPr>
              <a:t>Ground</a:t>
            </a:r>
            <a:endParaRPr lang="en-US" sz="1200" b="1" dirty="0">
              <a:solidFill>
                <a:srgbClr val="07693D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1562820-2F96-484C-97A9-8583A85F3F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40204" y="2431956"/>
            <a:ext cx="3295650" cy="352425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32038C4-AF45-4875-9A94-88A980AD7189}"/>
              </a:ext>
            </a:extLst>
          </p:cNvPr>
          <p:cNvSpPr txBox="1"/>
          <p:nvPr/>
        </p:nvSpPr>
        <p:spPr>
          <a:xfrm>
            <a:off x="-2549262" y="3536572"/>
            <a:ext cx="2299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rgbClr val="07693D"/>
                </a:solidFill>
              </a:rPr>
              <a:t>(</a:t>
            </a:r>
            <a:r>
              <a:rPr lang="en-US" sz="1200">
                <a:solidFill>
                  <a:srgbClr val="07693D"/>
                </a:solidFill>
                <a:highlight>
                  <a:srgbClr val="FFFF00"/>
                </a:highlight>
              </a:rPr>
              <a:t>Smart Way for us, favorite CL</a:t>
            </a:r>
            <a:r>
              <a:rPr lang="en-US" sz="1200">
                <a:solidFill>
                  <a:srgbClr val="07693D"/>
                </a:solidFill>
              </a:rPr>
              <a:t>)</a:t>
            </a:r>
            <a:endParaRPr lang="en-US" sz="120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4583675-E3C9-4097-8760-6161F1AD3321}"/>
              </a:ext>
            </a:extLst>
          </p:cNvPr>
          <p:cNvGrpSpPr/>
          <p:nvPr/>
        </p:nvGrpSpPr>
        <p:grpSpPr>
          <a:xfrm>
            <a:off x="9987352" y="395973"/>
            <a:ext cx="2172334" cy="753620"/>
            <a:chOff x="741329" y="1373164"/>
            <a:chExt cx="2172334" cy="75362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112C3C3-BF97-4A0E-A895-4820584791EA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0A2AE16-F25C-4C99-81AA-827CFAB5A6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11C7342E-2826-4272-B6A0-27C63AD283B3}"/>
              </a:ext>
            </a:extLst>
          </p:cNvPr>
          <p:cNvSpPr txBox="1"/>
          <p:nvPr/>
        </p:nvSpPr>
        <p:spPr>
          <a:xfrm>
            <a:off x="2747912" y="462473"/>
            <a:ext cx="832641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7693D"/>
                </a:solidFill>
              </a:rPr>
              <a:t>CO2e Reduction ML Model</a:t>
            </a:r>
          </a:p>
          <a:p>
            <a:r>
              <a:rPr lang="en-US" sz="32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sing CO2e emission Factors &amp; Consolidation Algorithms</a:t>
            </a:r>
          </a:p>
        </p:txBody>
      </p:sp>
    </p:spTree>
    <p:extLst>
      <p:ext uri="{BB962C8B-B14F-4D97-AF65-F5344CB8AC3E}">
        <p14:creationId xmlns:p14="http://schemas.microsoft.com/office/powerpoint/2010/main" val="22640229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4CC14D-3762-4253-8A88-2DAA885AC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18B7CCE-BAE8-4A88-8B1F-B0C63F5C4810}"/>
              </a:ext>
            </a:extLst>
          </p:cNvPr>
          <p:cNvSpPr txBox="1"/>
          <p:nvPr/>
        </p:nvSpPr>
        <p:spPr>
          <a:xfrm flipH="1">
            <a:off x="4408109" y="1920845"/>
            <a:ext cx="16878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2060"/>
                </a:solidFill>
              </a:rPr>
              <a:t>Air</a:t>
            </a:r>
          </a:p>
        </p:txBody>
      </p:sp>
      <p:sp>
        <p:nvSpPr>
          <p:cNvPr id="19" name="Content Placeholder 15">
            <a:extLst>
              <a:ext uri="{FF2B5EF4-FFF2-40B4-BE49-F238E27FC236}">
                <a16:creationId xmlns:a16="http://schemas.microsoft.com/office/drawing/2014/main" id="{E30E7020-30C1-42C5-BE6F-50D156C67308}"/>
              </a:ext>
            </a:extLst>
          </p:cNvPr>
          <p:cNvSpPr txBox="1">
            <a:spLocks/>
          </p:cNvSpPr>
          <p:nvPr/>
        </p:nvSpPr>
        <p:spPr bwMode="black">
          <a:xfrm>
            <a:off x="4226860" y="2610932"/>
            <a:ext cx="7449819" cy="3220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87550" indent="-285750" algn="l" rtl="0" eaLnBrk="0" fontAlgn="base" hangingPunct="0">
              <a:lnSpc>
                <a:spcPct val="12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Wingdings" panose="05000000000000000000" pitchFamily="2" charset="2"/>
              <a:buChar char="§"/>
              <a:defRPr lang="en-US" altLang="nl-NL" sz="14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o"/>
              <a:defRPr sz="14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rgbClr val="FF3C3C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02060"/>
                </a:solidFill>
              </a:rPr>
              <a:t>Co2e emission factor  (per </a:t>
            </a:r>
            <a:r>
              <a:rPr lang="en-US" sz="1600" dirty="0" err="1">
                <a:solidFill>
                  <a:srgbClr val="002060"/>
                </a:solidFill>
              </a:rPr>
              <a:t>Tonne</a:t>
            </a:r>
            <a:r>
              <a:rPr lang="en-US" sz="1600" dirty="0">
                <a:solidFill>
                  <a:srgbClr val="002060"/>
                </a:solidFill>
              </a:rPr>
              <a:t> Km ), on aircraft Belly freight &gt; Cargo plane</a:t>
            </a:r>
          </a:p>
          <a:p>
            <a:r>
              <a:rPr lang="en-US" sz="1600" dirty="0">
                <a:solidFill>
                  <a:srgbClr val="002060"/>
                </a:solidFill>
              </a:rPr>
              <a:t>Prioritized air carriers from Cargo plane -&gt; Belly freight</a:t>
            </a:r>
          </a:p>
          <a:p>
            <a:r>
              <a:rPr lang="en-US" sz="1600" dirty="0">
                <a:solidFill>
                  <a:srgbClr val="002060"/>
                </a:solidFill>
              </a:rPr>
              <a:t>Prioritized air carriers by number of airport stops of each city pair</a:t>
            </a:r>
          </a:p>
          <a:p>
            <a:r>
              <a:rPr lang="en-US" sz="1600" dirty="0">
                <a:solidFill>
                  <a:srgbClr val="002060"/>
                </a:solidFill>
              </a:rPr>
              <a:t>Top Co2e Airline Index</a:t>
            </a:r>
          </a:p>
          <a:p>
            <a:r>
              <a:rPr lang="en-US" sz="1600" dirty="0">
                <a:solidFill>
                  <a:srgbClr val="002060"/>
                </a:solidFill>
              </a:rPr>
              <a:t>Shipping Unit Optimization from Package to Bulk/Pallet or Container</a:t>
            </a:r>
          </a:p>
          <a:p>
            <a:r>
              <a:rPr lang="en-US" sz="1600" dirty="0">
                <a:solidFill>
                  <a:srgbClr val="002060"/>
                </a:solidFill>
              </a:rPr>
              <a:t>Ocean route alert if delivery date are 6 week ahead</a:t>
            </a:r>
          </a:p>
          <a:p>
            <a:endParaRPr lang="en-US" dirty="0"/>
          </a:p>
          <a:p>
            <a:pPr marL="1800" indent="0">
              <a:buFont typeface="Symbol" panose="05050102010706020507" pitchFamily="18" charset="2"/>
              <a:buNone/>
            </a:pPr>
            <a:endParaRPr lang="en-US" dirty="0"/>
          </a:p>
          <a:p>
            <a:pPr marL="1800" indent="0">
              <a:buFont typeface="Symbol" panose="05050102010706020507" pitchFamily="18" charset="2"/>
              <a:buNone/>
            </a:pP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2038C4-AF45-4875-9A94-88A980AD7189}"/>
              </a:ext>
            </a:extLst>
          </p:cNvPr>
          <p:cNvSpPr txBox="1"/>
          <p:nvPr/>
        </p:nvSpPr>
        <p:spPr>
          <a:xfrm>
            <a:off x="-2549262" y="3536572"/>
            <a:ext cx="2299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rgbClr val="07693D"/>
                </a:solidFill>
              </a:rPr>
              <a:t>(</a:t>
            </a:r>
            <a:r>
              <a:rPr lang="en-US" sz="1200">
                <a:solidFill>
                  <a:srgbClr val="07693D"/>
                </a:solidFill>
                <a:highlight>
                  <a:srgbClr val="FFFF00"/>
                </a:highlight>
              </a:rPr>
              <a:t>Smart Way for us, favorite CL</a:t>
            </a:r>
            <a:r>
              <a:rPr lang="en-US" sz="1200">
                <a:solidFill>
                  <a:srgbClr val="07693D"/>
                </a:solidFill>
              </a:rPr>
              <a:t>)</a:t>
            </a:r>
            <a:endParaRPr lang="en-US" sz="120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9E96757-D14A-4FC1-94C3-DBD355BAC36E}"/>
              </a:ext>
            </a:extLst>
          </p:cNvPr>
          <p:cNvGrpSpPr/>
          <p:nvPr/>
        </p:nvGrpSpPr>
        <p:grpSpPr>
          <a:xfrm>
            <a:off x="10019666" y="387262"/>
            <a:ext cx="2172334" cy="753620"/>
            <a:chOff x="741329" y="1373164"/>
            <a:chExt cx="2172334" cy="75362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CAACCE-0D78-439B-AA38-EAF1B4B90004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A9C73B72-C7EB-49B9-8B76-27775D4CAD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B3F634C8-BFE8-431E-BF24-B4D6251D3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36572"/>
            <a:ext cx="4226860" cy="265291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A6883ACC-5AC8-4BCB-9BC6-5DB42735910B}"/>
              </a:ext>
            </a:extLst>
          </p:cNvPr>
          <p:cNvGrpSpPr/>
          <p:nvPr/>
        </p:nvGrpSpPr>
        <p:grpSpPr>
          <a:xfrm>
            <a:off x="544161" y="376720"/>
            <a:ext cx="2151943" cy="2061077"/>
            <a:chOff x="4469692" y="336795"/>
            <a:chExt cx="2151943" cy="2061077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ED52C398-B44A-434D-A918-2443CDEBF3D3}"/>
                </a:ext>
              </a:extLst>
            </p:cNvPr>
            <p:cNvSpPr/>
            <p:nvPr/>
          </p:nvSpPr>
          <p:spPr>
            <a:xfrm>
              <a:off x="4469692" y="336795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AD0AD1-4E9A-42CD-BB7B-692E9F9ECF19}"/>
                </a:ext>
              </a:extLst>
            </p:cNvPr>
            <p:cNvGrpSpPr/>
            <p:nvPr/>
          </p:nvGrpSpPr>
          <p:grpSpPr>
            <a:xfrm>
              <a:off x="4617462" y="1173299"/>
              <a:ext cx="1933822" cy="530753"/>
              <a:chOff x="8163957" y="2296958"/>
              <a:chExt cx="3664865" cy="976442"/>
            </a:xfrm>
          </p:grpSpPr>
          <p:pic>
            <p:nvPicPr>
              <p:cNvPr id="27" name="Picture 26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4E05F353-467D-4A53-BE06-2E79C55FE4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harpenSoften amount="-50000"/>
                        </a14:imgEffect>
                        <a14:imgEffect>
                          <a14:brightnessContrast brigh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63957" y="2296958"/>
                <a:ext cx="1687611" cy="934742"/>
              </a:xfrm>
              <a:prstGeom prst="rect">
                <a:avLst/>
              </a:prstGeom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94E4172-3578-4C08-AB1F-7B15BA064F5E}"/>
                  </a:ext>
                </a:extLst>
              </p:cNvPr>
              <p:cNvSpPr txBox="1"/>
              <p:nvPr/>
            </p:nvSpPr>
            <p:spPr>
              <a:xfrm>
                <a:off x="9815574" y="2593929"/>
                <a:ext cx="2013248" cy="679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rgbClr val="07693D"/>
                    </a:solidFill>
                  </a:rPr>
                  <a:t>e-aware</a:t>
                </a:r>
              </a:p>
            </p:txBody>
          </p:sp>
        </p:grp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D8CCBD3-AC6E-44A6-B404-73225BAF6D7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335036" y="1104752"/>
              <a:ext cx="1062322" cy="32259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43CD65AF-4F44-4544-8085-4825C890480E}"/>
              </a:ext>
            </a:extLst>
          </p:cNvPr>
          <p:cNvSpPr txBox="1"/>
          <p:nvPr/>
        </p:nvSpPr>
        <p:spPr>
          <a:xfrm>
            <a:off x="4248921" y="1144101"/>
            <a:ext cx="6251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7693D"/>
                </a:solidFill>
              </a:rPr>
              <a:t>Use Green Conscious Airlines</a:t>
            </a:r>
          </a:p>
        </p:txBody>
      </p:sp>
    </p:spTree>
    <p:extLst>
      <p:ext uri="{BB962C8B-B14F-4D97-AF65-F5344CB8AC3E}">
        <p14:creationId xmlns:p14="http://schemas.microsoft.com/office/powerpoint/2010/main" val="2763138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FF68CB0-7320-42E2-943E-08699C49F06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42030" y="1595774"/>
            <a:ext cx="1074420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b="1" kern="1200" dirty="0">
                <a:solidFill>
                  <a:schemeClr val="bg1"/>
                </a:solidFill>
                <a:highlight>
                  <a:srgbClr val="008000"/>
                </a:highlight>
              </a:rPr>
              <a:t>Co2e Emission </a:t>
            </a:r>
            <a:r>
              <a:rPr lang="en-US" sz="3600" b="1" dirty="0">
                <a:solidFill>
                  <a:schemeClr val="bg1"/>
                </a:solidFill>
                <a:highlight>
                  <a:srgbClr val="008000"/>
                </a:highlight>
              </a:rPr>
              <a:t>Intelligence</a:t>
            </a:r>
            <a:endParaRPr lang="en-US" sz="3600" b="1" kern="1200" dirty="0">
              <a:solidFill>
                <a:schemeClr val="bg1"/>
              </a:solidFill>
              <a:highlight>
                <a:srgbClr val="008000"/>
              </a:highlight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C5945D-4EF9-4ABA-A3D7-D89A1D055AE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1070151" y="2699964"/>
            <a:ext cx="10744200" cy="365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7693D"/>
              </a:buClr>
            </a:pPr>
            <a:r>
              <a:rPr lang="en-US" sz="2400" b="1" u="sng" dirty="0">
                <a:solidFill>
                  <a:srgbClr val="07693D"/>
                </a:solidFill>
              </a:rPr>
              <a:t>Co2e Emission Indexes </a:t>
            </a:r>
            <a:r>
              <a:rPr lang="en-US" sz="2400" b="1" dirty="0">
                <a:solidFill>
                  <a:srgbClr val="07693D"/>
                </a:solidFill>
              </a:rPr>
              <a:t>on Air, Ground, North America &amp; Europe</a:t>
            </a:r>
          </a:p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7693D"/>
              </a:buClr>
            </a:pPr>
            <a:r>
              <a:rPr lang="en-US" sz="2400" b="1" u="sng" dirty="0">
                <a:solidFill>
                  <a:srgbClr val="07693D"/>
                </a:solidFill>
              </a:rPr>
              <a:t>Co2e Linear Regression Forecast Model</a:t>
            </a:r>
            <a:r>
              <a:rPr lang="en-US" sz="2400" b="1" dirty="0">
                <a:solidFill>
                  <a:srgbClr val="07693D"/>
                </a:solidFill>
              </a:rPr>
              <a:t> on trend and season</a:t>
            </a:r>
          </a:p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7693D"/>
              </a:buClr>
            </a:pPr>
            <a:r>
              <a:rPr lang="en-US" sz="2400" b="1" u="sng" dirty="0">
                <a:solidFill>
                  <a:srgbClr val="07693D"/>
                </a:solidFill>
              </a:rPr>
              <a:t>Trip consolidation opportunity </a:t>
            </a:r>
            <a:r>
              <a:rPr lang="en-US" sz="2400" b="1" dirty="0">
                <a:solidFill>
                  <a:srgbClr val="07693D"/>
                </a:solidFill>
              </a:rPr>
              <a:t>cluster model by OD path &amp; Delivery Date</a:t>
            </a:r>
          </a:p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7693D"/>
              </a:buClr>
            </a:pPr>
            <a:r>
              <a:rPr lang="en-US" sz="2400" b="1" dirty="0">
                <a:solidFill>
                  <a:srgbClr val="07693D"/>
                </a:solidFill>
              </a:rPr>
              <a:t>Co2e Emission Saving Calculator </a:t>
            </a:r>
          </a:p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7693D"/>
              </a:buClr>
            </a:pPr>
            <a:r>
              <a:rPr lang="en-US" sz="2400" b="1" kern="1200" dirty="0">
                <a:solidFill>
                  <a:srgbClr val="07693D"/>
                </a:solidFill>
              </a:rPr>
              <a:t>See Dashboard Presentation</a:t>
            </a:r>
            <a:endParaRPr lang="en-US" sz="2400" b="1" dirty="0">
              <a:solidFill>
                <a:srgbClr val="07693D"/>
              </a:solidFill>
            </a:endParaRPr>
          </a:p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400" b="1" dirty="0">
              <a:solidFill>
                <a:srgbClr val="07693D"/>
              </a:solidFill>
            </a:endParaRPr>
          </a:p>
          <a:p>
            <a:pPr marL="0" lvl="0" indent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2400" b="1" dirty="0">
              <a:solidFill>
                <a:srgbClr val="07693D"/>
              </a:solidFill>
            </a:endParaRPr>
          </a:p>
          <a:p>
            <a:pPr marL="0" lvl="0" indent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b="1" kern="1200" dirty="0">
                <a:solidFill>
                  <a:schemeClr val="bg1"/>
                </a:solidFill>
              </a:rPr>
              <a:t>Dashboar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97E781-1EEA-4C47-AEDE-19539F770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E9413C3-E1FD-4146-957A-4CB85155ED61}"/>
              </a:ext>
            </a:extLst>
          </p:cNvPr>
          <p:cNvGrpSpPr/>
          <p:nvPr/>
        </p:nvGrpSpPr>
        <p:grpSpPr>
          <a:xfrm>
            <a:off x="591658" y="187813"/>
            <a:ext cx="2151943" cy="2061077"/>
            <a:chOff x="4970814" y="2158680"/>
            <a:chExt cx="2151943" cy="2061077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A8A7DFD-AE25-45B4-9FD2-3B14E6D044D0}"/>
                </a:ext>
              </a:extLst>
            </p:cNvPr>
            <p:cNvSpPr/>
            <p:nvPr/>
          </p:nvSpPr>
          <p:spPr>
            <a:xfrm>
              <a:off x="4970814" y="2158680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BE6931A-8E77-440F-B8C9-7B1E6B0E1E39}"/>
                </a:ext>
              </a:extLst>
            </p:cNvPr>
            <p:cNvGrpSpPr/>
            <p:nvPr/>
          </p:nvGrpSpPr>
          <p:grpSpPr>
            <a:xfrm>
              <a:off x="5214651" y="2802807"/>
              <a:ext cx="1762698" cy="980821"/>
              <a:chOff x="5258145" y="3173216"/>
              <a:chExt cx="2346819" cy="1301010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7E183BD-3B33-438B-AFE1-EFAAA0A52EE9}"/>
                  </a:ext>
                </a:extLst>
              </p:cNvPr>
              <p:cNvSpPr txBox="1"/>
              <p:nvPr/>
            </p:nvSpPr>
            <p:spPr>
              <a:xfrm>
                <a:off x="5258145" y="3657726"/>
                <a:ext cx="2346819" cy="816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rgbClr val="07693D"/>
                    </a:solidFill>
                  </a:rPr>
                  <a:t>Knows Co2</a:t>
                </a:r>
              </a:p>
              <a:p>
                <a:pPr algn="ctr"/>
                <a:r>
                  <a:rPr lang="en-US" b="1" dirty="0">
                    <a:solidFill>
                      <a:srgbClr val="07693D"/>
                    </a:solidFill>
                  </a:rPr>
                  <a:t>Co2 Intelligence</a:t>
                </a:r>
              </a:p>
            </p:txBody>
          </p:sp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D01F2A21-46D8-4634-BC9E-44FC1AF962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357446" y="3173216"/>
                <a:ext cx="1944794" cy="590566"/>
              </a:xfrm>
              <a:prstGeom prst="rect">
                <a:avLst/>
              </a:prstGeom>
            </p:spPr>
          </p:pic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3E208A6-DA65-43DA-9D3F-C5457CE526DC}"/>
              </a:ext>
            </a:extLst>
          </p:cNvPr>
          <p:cNvGrpSpPr/>
          <p:nvPr/>
        </p:nvGrpSpPr>
        <p:grpSpPr>
          <a:xfrm>
            <a:off x="10019666" y="328896"/>
            <a:ext cx="2172334" cy="753620"/>
            <a:chOff x="741329" y="1373164"/>
            <a:chExt cx="2172334" cy="75362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1E56E21-F994-4F30-A09D-26FC6471AD53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50FD059-34C7-4F04-BC8B-B36A396210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27325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C8706E-275A-48F7-9E31-4921CE8047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ugust 2021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D9C40D-BB03-4288-808A-3BC34DFC55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2756" y="1537220"/>
            <a:ext cx="8109476" cy="4440298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720F8706-D6B0-46BE-B51A-23192EE875DF}"/>
              </a:ext>
            </a:extLst>
          </p:cNvPr>
          <p:cNvGrpSpPr/>
          <p:nvPr/>
        </p:nvGrpSpPr>
        <p:grpSpPr>
          <a:xfrm>
            <a:off x="253487" y="358079"/>
            <a:ext cx="2151943" cy="2061077"/>
            <a:chOff x="4970814" y="2158680"/>
            <a:chExt cx="2151943" cy="2061077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2C87233-E5BA-4C6E-BBDD-FF0B9F3CD134}"/>
                </a:ext>
              </a:extLst>
            </p:cNvPr>
            <p:cNvSpPr/>
            <p:nvPr/>
          </p:nvSpPr>
          <p:spPr>
            <a:xfrm>
              <a:off x="4970814" y="2158680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22CB2B9-2F7F-4287-847B-B979B1EA7137}"/>
                </a:ext>
              </a:extLst>
            </p:cNvPr>
            <p:cNvGrpSpPr/>
            <p:nvPr/>
          </p:nvGrpSpPr>
          <p:grpSpPr>
            <a:xfrm>
              <a:off x="5214651" y="2802807"/>
              <a:ext cx="1762698" cy="980821"/>
              <a:chOff x="5258145" y="3173216"/>
              <a:chExt cx="2346819" cy="1301010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0F2C18A-3DCE-4173-8934-40F7F46B959D}"/>
                  </a:ext>
                </a:extLst>
              </p:cNvPr>
              <p:cNvSpPr txBox="1"/>
              <p:nvPr/>
            </p:nvSpPr>
            <p:spPr>
              <a:xfrm>
                <a:off x="5258145" y="3657726"/>
                <a:ext cx="2346819" cy="816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rgbClr val="07693D"/>
                    </a:solidFill>
                  </a:rPr>
                  <a:t>Knows Co2</a:t>
                </a:r>
              </a:p>
              <a:p>
                <a:pPr algn="ctr"/>
                <a:r>
                  <a:rPr lang="en-US" b="1" dirty="0">
                    <a:solidFill>
                      <a:srgbClr val="07693D"/>
                    </a:solidFill>
                  </a:rPr>
                  <a:t>Co2 Intelligence</a:t>
                </a: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1BA0994B-9196-468A-80E9-8D5F8339BB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357446" y="3173216"/>
                <a:ext cx="1944794" cy="590566"/>
              </a:xfrm>
              <a:prstGeom prst="rect">
                <a:avLst/>
              </a:prstGeom>
            </p:spPr>
          </p:pic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28EDCF8-194A-433E-A057-B1BAF92EDF07}"/>
              </a:ext>
            </a:extLst>
          </p:cNvPr>
          <p:cNvGrpSpPr/>
          <p:nvPr/>
        </p:nvGrpSpPr>
        <p:grpSpPr>
          <a:xfrm>
            <a:off x="9941845" y="625396"/>
            <a:ext cx="2172334" cy="753620"/>
            <a:chOff x="741329" y="1373164"/>
            <a:chExt cx="2172334" cy="75362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151A422-8380-430E-903D-1C2EA2A4474E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99C7140-DC68-426E-9ED7-B78545C7FE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5159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9DBFFBAB-DFEC-4BA3-BF3C-5176CE816BF5}"/>
              </a:ext>
            </a:extLst>
          </p:cNvPr>
          <p:cNvSpPr txBox="1"/>
          <p:nvPr/>
        </p:nvSpPr>
        <p:spPr>
          <a:xfrm>
            <a:off x="1588308" y="2899145"/>
            <a:ext cx="8965096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65A34"/>
                </a:solidFill>
              </a:rPr>
              <a:t>City Pair based shipment </a:t>
            </a:r>
            <a:r>
              <a:rPr lang="en-US" sz="2000" b="1" dirty="0">
                <a:solidFill>
                  <a:srgbClr val="065A34"/>
                </a:solidFill>
              </a:rPr>
              <a:t>CO2e</a:t>
            </a:r>
            <a:r>
              <a:rPr lang="en-US" sz="2000" dirty="0">
                <a:solidFill>
                  <a:srgbClr val="065A34"/>
                </a:solidFill>
              </a:rPr>
              <a:t> discovery panel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65A34"/>
                </a:solidFill>
              </a:rPr>
              <a:t>CO2e forecast based on air/ocean port and routes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65A34"/>
                </a:solidFill>
              </a:rPr>
              <a:t>Interactive CO2 calculations driven by distance, weight &amp; </a:t>
            </a:r>
            <a:r>
              <a:rPr lang="en-US" sz="2000" b="1" dirty="0">
                <a:solidFill>
                  <a:srgbClr val="065A34"/>
                </a:solidFill>
              </a:rPr>
              <a:t>CO2e</a:t>
            </a:r>
            <a:r>
              <a:rPr lang="en-US" sz="2000" dirty="0">
                <a:solidFill>
                  <a:srgbClr val="065A34"/>
                </a:solidFill>
              </a:rPr>
              <a:t> visualization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65A34"/>
                </a:solidFill>
                <a:highlight>
                  <a:srgbClr val="FFFF00"/>
                </a:highlight>
              </a:rPr>
              <a:t>Consolidation opportunity advisor </a:t>
            </a:r>
            <a:r>
              <a:rPr lang="en-US" sz="2000" dirty="0">
                <a:solidFill>
                  <a:srgbClr val="065A34"/>
                </a:solidFill>
              </a:rPr>
              <a:t>by day, week on air/ocean ports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65A34"/>
                </a:solidFill>
                <a:highlight>
                  <a:srgbClr val="FFFF00"/>
                </a:highlight>
              </a:rPr>
              <a:t>Route wizard </a:t>
            </a:r>
            <a:r>
              <a:rPr lang="en-US" sz="2000" b="1" dirty="0">
                <a:solidFill>
                  <a:srgbClr val="065A34"/>
                </a:solidFill>
              </a:rPr>
              <a:t>suggests CO2e </a:t>
            </a:r>
            <a:r>
              <a:rPr lang="en-US" sz="2000" dirty="0">
                <a:solidFill>
                  <a:srgbClr val="065A34"/>
                </a:solidFill>
              </a:rPr>
              <a:t>reduction route and trip combination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65A34"/>
                </a:solidFill>
              </a:rPr>
              <a:t>Green calculator </a:t>
            </a:r>
            <a:r>
              <a:rPr lang="en-US" sz="2000" dirty="0">
                <a:solidFill>
                  <a:srgbClr val="065A34"/>
                </a:solidFill>
              </a:rPr>
              <a:t>delivers optimized </a:t>
            </a:r>
            <a:r>
              <a:rPr lang="en-US" sz="2000" b="1" dirty="0">
                <a:solidFill>
                  <a:srgbClr val="065A34"/>
                </a:solidFill>
              </a:rPr>
              <a:t>CO2e shipment and execution plan</a:t>
            </a:r>
            <a:endParaRPr lang="en-US" sz="2000" dirty="0">
              <a:solidFill>
                <a:srgbClr val="065A3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543D11D-0C06-4EAF-BAE3-9D1A2FBB0F50}"/>
              </a:ext>
            </a:extLst>
          </p:cNvPr>
          <p:cNvGrpSpPr/>
          <p:nvPr/>
        </p:nvGrpSpPr>
        <p:grpSpPr>
          <a:xfrm>
            <a:off x="10436086" y="4422914"/>
            <a:ext cx="1639509" cy="1598214"/>
            <a:chOff x="1555312" y="1794987"/>
            <a:chExt cx="1881187" cy="188118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819B85-3692-472F-98E9-B21099DB58D9}"/>
                </a:ext>
              </a:extLst>
            </p:cNvPr>
            <p:cNvGrpSpPr/>
            <p:nvPr/>
          </p:nvGrpSpPr>
          <p:grpSpPr>
            <a:xfrm>
              <a:off x="1555312" y="1794987"/>
              <a:ext cx="1881187" cy="1881187"/>
              <a:chOff x="2647512" y="1808912"/>
              <a:chExt cx="1881187" cy="1881187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C10061EF-BFFC-47F8-BE6B-FF449FCB27B5}"/>
                  </a:ext>
                </a:extLst>
              </p:cNvPr>
              <p:cNvSpPr/>
              <p:nvPr/>
            </p:nvSpPr>
            <p:spPr>
              <a:xfrm>
                <a:off x="2647512" y="1808912"/>
                <a:ext cx="1881187" cy="1881187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76200">
                <a:solidFill>
                  <a:srgbClr val="002060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1" name="Oval 4">
                <a:extLst>
                  <a:ext uri="{FF2B5EF4-FFF2-40B4-BE49-F238E27FC236}">
                    <a16:creationId xmlns:a16="http://schemas.microsoft.com/office/drawing/2014/main" id="{5E08363B-E0B4-463A-BB44-38BBA61D159C}"/>
                  </a:ext>
                </a:extLst>
              </p:cNvPr>
              <p:cNvSpPr txBox="1"/>
              <p:nvPr/>
            </p:nvSpPr>
            <p:spPr>
              <a:xfrm>
                <a:off x="2947597" y="1997091"/>
                <a:ext cx="1356644" cy="135190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000" b="1" kern="1200" dirty="0">
                  <a:solidFill>
                    <a:srgbClr val="002060"/>
                  </a:solidFill>
                </a:endParaRPr>
              </a:p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2800" b="1" kern="1200" dirty="0">
                  <a:solidFill>
                    <a:srgbClr val="002060"/>
                  </a:solidFill>
                </a:endParaRPr>
              </a:p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200" b="1" kern="1200" dirty="0">
                    <a:solidFill>
                      <a:srgbClr val="002060"/>
                    </a:solidFill>
                  </a:rPr>
                  <a:t>Supply Chain</a:t>
                </a:r>
              </a:p>
            </p:txBody>
          </p:sp>
        </p:grp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40A281C-E9E4-4A1F-9C82-7AFAC5B18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839966" y="2267242"/>
              <a:ext cx="1356644" cy="284424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A7AA4D4-FF11-4A93-8AE2-4BD47FE14DE6}"/>
                </a:ext>
              </a:extLst>
            </p:cNvPr>
            <p:cNvSpPr/>
            <p:nvPr/>
          </p:nvSpPr>
          <p:spPr>
            <a:xfrm flipH="1">
              <a:off x="1600077" y="2551667"/>
              <a:ext cx="1836421" cy="533043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2000" b="1" cap="none" spc="50" dirty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Smart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01A8A91-14FD-4489-B238-BAB0481590A8}"/>
              </a:ext>
            </a:extLst>
          </p:cNvPr>
          <p:cNvGrpSpPr/>
          <p:nvPr/>
        </p:nvGrpSpPr>
        <p:grpSpPr>
          <a:xfrm>
            <a:off x="10147853" y="1203391"/>
            <a:ext cx="2172334" cy="753620"/>
            <a:chOff x="741329" y="1373164"/>
            <a:chExt cx="2172334" cy="75362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42A868F-8510-4E14-A501-D7015D097CCE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0739ED31-92A7-490C-B251-C1362CA39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0D257BD-4C3C-4F6B-856E-ABDD5814900C}"/>
              </a:ext>
            </a:extLst>
          </p:cNvPr>
          <p:cNvGrpSpPr/>
          <p:nvPr/>
        </p:nvGrpSpPr>
        <p:grpSpPr>
          <a:xfrm>
            <a:off x="348826" y="73460"/>
            <a:ext cx="2478964" cy="2061077"/>
            <a:chOff x="8457256" y="2158680"/>
            <a:chExt cx="2478964" cy="2061077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66ABE0A-710C-46D5-B3BF-23FB92D7EC9E}"/>
                </a:ext>
              </a:extLst>
            </p:cNvPr>
            <p:cNvSpPr/>
            <p:nvPr/>
          </p:nvSpPr>
          <p:spPr>
            <a:xfrm>
              <a:off x="8457256" y="2158680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B99636F-5DB2-4126-B1F7-61EF1B965E79}"/>
                </a:ext>
              </a:extLst>
            </p:cNvPr>
            <p:cNvGrpSpPr/>
            <p:nvPr/>
          </p:nvGrpSpPr>
          <p:grpSpPr>
            <a:xfrm>
              <a:off x="8605912" y="2660243"/>
              <a:ext cx="2330308" cy="1153971"/>
              <a:chOff x="5611334" y="742367"/>
              <a:chExt cx="2330308" cy="115397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5305547D-F041-4096-BD8C-5C812952CBCE}"/>
                  </a:ext>
                </a:extLst>
              </p:cNvPr>
              <p:cNvGrpSpPr/>
              <p:nvPr/>
            </p:nvGrpSpPr>
            <p:grpSpPr>
              <a:xfrm>
                <a:off x="5611334" y="742367"/>
                <a:ext cx="1870564" cy="830997"/>
                <a:chOff x="632720" y="1284355"/>
                <a:chExt cx="1870564" cy="830997"/>
              </a:xfrm>
            </p:grpSpPr>
            <p:pic>
              <p:nvPicPr>
                <p:cNvPr id="25" name="Picture 24" descr="A picture containing text&#10;&#10;Description automatically generated">
                  <a:extLst>
                    <a:ext uri="{FF2B5EF4-FFF2-40B4-BE49-F238E27FC236}">
                      <a16:creationId xmlns:a16="http://schemas.microsoft.com/office/drawing/2014/main" id="{A2276B00-2FED-498A-AE48-418CF15A07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BEBA8EAE-BF5A-486C-A8C5-ECC9F3942E4B}">
                      <a14:imgProps xmlns:a14="http://schemas.microsoft.com/office/drawing/2010/main">
                        <a14:imgLayer r:embed="rId5">
                          <a14:imgEffect>
                            <a14:brightnessContrast bright="-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2720" y="1334693"/>
                  <a:ext cx="1468890" cy="637988"/>
                </a:xfrm>
                <a:prstGeom prst="rect">
                  <a:avLst/>
                </a:prstGeom>
              </p:spPr>
            </p:pic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E50F5545-C232-4E97-B4F1-01A8A9A6FAAE}"/>
                    </a:ext>
                  </a:extLst>
                </p:cNvPr>
                <p:cNvSpPr/>
                <p:nvPr/>
              </p:nvSpPr>
              <p:spPr>
                <a:xfrm>
                  <a:off x="2009238" y="1284355"/>
                  <a:ext cx="494046" cy="830997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ctr"/>
                  <a:r>
                    <a:rPr lang="en-US" sz="4800" b="1" cap="none" spc="0" dirty="0">
                      <a:ln w="0"/>
                      <a:solidFill>
                        <a:srgbClr val="065A34"/>
                      </a:solidFill>
                      <a:effectLst>
                        <a:outerShdw blurRad="38100" dist="19050" dir="2700000" algn="tl" rotWithShape="0">
                          <a:schemeClr val="dk1">
                            <a:alpha val="40000"/>
                          </a:schemeClr>
                        </a:outerShdw>
                      </a:effectLst>
                    </a:rPr>
                    <a:t>e</a:t>
                  </a:r>
                </a:p>
              </p:txBody>
            </p:sp>
          </p:grp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BC6F566B-091E-4AAC-8E6F-9468BB364D3F}"/>
                  </a:ext>
                </a:extLst>
              </p:cNvPr>
              <p:cNvSpPr txBox="1"/>
              <p:nvPr/>
            </p:nvSpPr>
            <p:spPr>
              <a:xfrm>
                <a:off x="5619456" y="1311563"/>
                <a:ext cx="2322186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3200" b="1" cap="none" spc="0" dirty="0">
                    <a:ln w="0"/>
                    <a:solidFill>
                      <a:srgbClr val="065A34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Discovery</a:t>
                </a:r>
                <a:endParaRPr lang="en-US" sz="3200" dirty="0"/>
              </a:p>
            </p:txBody>
          </p:sp>
        </p:grp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3FD0838-0238-4D0C-A709-A06541778A4C}"/>
              </a:ext>
            </a:extLst>
          </p:cNvPr>
          <p:cNvSpPr txBox="1"/>
          <p:nvPr/>
        </p:nvSpPr>
        <p:spPr>
          <a:xfrm>
            <a:off x="2690503" y="1355507"/>
            <a:ext cx="6251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7693D"/>
                </a:solidFill>
              </a:rPr>
              <a:t>We can be more GREEN</a:t>
            </a:r>
          </a:p>
        </p:txBody>
      </p:sp>
    </p:spTree>
    <p:extLst>
      <p:ext uri="{BB962C8B-B14F-4D97-AF65-F5344CB8AC3E}">
        <p14:creationId xmlns:p14="http://schemas.microsoft.com/office/powerpoint/2010/main" val="80094869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ZH1TpwTL.8towqsFsI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WRu1JdTMyiMEcZCahK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dPIUVqSzSJtDX3x1T8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irKIjZGvjCV2yEnApS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U2f8RpTLmXNqsT_Qoi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RXhFwfQvaly3qUYpxg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FvQPzvgQtdUNV2oip8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4FqAxDQLayO._ABkFO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Qc1iSjSpqnv9vxjOyQ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ZH1TpwTL.8towqsFsI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Qc1iSjSpqnv9vxjOyQ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V7T0JQQY6u5by7Q34q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4FqAxDQLayO._ABkFO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0DdhJ5S8qkftgreU60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4FqAxDQLayO._ABkFO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V7T0JQQY6u5by7Q34qkA"/>
</p:tagLst>
</file>

<file path=ppt/theme/theme1.xml><?xml version="1.0" encoding="utf-8"?>
<a:theme xmlns:a="http://schemas.openxmlformats.org/drawingml/2006/main" name="CEVA">
  <a:themeElements>
    <a:clrScheme name="CEVA_new">
      <a:dk1>
        <a:srgbClr val="000000"/>
      </a:dk1>
      <a:lt1>
        <a:srgbClr val="FFFFFF"/>
      </a:lt1>
      <a:dk2>
        <a:srgbClr val="CCCCCC"/>
      </a:dk2>
      <a:lt2>
        <a:srgbClr val="666666"/>
      </a:lt2>
      <a:accent1>
        <a:srgbClr val="051039"/>
      </a:accent1>
      <a:accent2>
        <a:srgbClr val="FF0000"/>
      </a:accent2>
      <a:accent3>
        <a:srgbClr val="344A7B"/>
      </a:accent3>
      <a:accent4>
        <a:srgbClr val="477AB5"/>
      </a:accent4>
      <a:accent5>
        <a:srgbClr val="5998D3"/>
      </a:accent5>
      <a:accent6>
        <a:srgbClr val="D5DDFB"/>
      </a:accent6>
      <a:hlink>
        <a:srgbClr val="006699"/>
      </a:hlink>
      <a:folHlink>
        <a:srgbClr val="99999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nl-NL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Calibri" panose="020F050202020403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nl-NL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Calibri" panose="020F0502020204030204" pitchFamily="34" charset="0"/>
          </a:defRPr>
        </a:defPPr>
      </a:lstStyle>
    </a:lnDef>
  </a:objectDefaults>
  <a:extraClrSchemeLst>
    <a:extraClrScheme>
      <a:clrScheme name="CEVA 1">
        <a:dk1>
          <a:srgbClr val="000000"/>
        </a:dk1>
        <a:lt1>
          <a:srgbClr val="FFFFFF"/>
        </a:lt1>
        <a:dk2>
          <a:srgbClr val="990033"/>
        </a:dk2>
        <a:lt2>
          <a:srgbClr val="666666"/>
        </a:lt2>
        <a:accent1>
          <a:srgbClr val="CCCCCC"/>
        </a:accent1>
        <a:accent2>
          <a:srgbClr val="006699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8A"/>
        </a:accent6>
        <a:hlink>
          <a:srgbClr val="FF0033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VA 2">
        <a:dk1>
          <a:srgbClr val="000000"/>
        </a:dk1>
        <a:lt1>
          <a:srgbClr val="FFFFFF"/>
        </a:lt1>
        <a:dk2>
          <a:srgbClr val="CCCCCC"/>
        </a:dk2>
        <a:lt2>
          <a:srgbClr val="666666"/>
        </a:lt2>
        <a:accent1>
          <a:srgbClr val="990033"/>
        </a:accent1>
        <a:accent2>
          <a:srgbClr val="FF0033"/>
        </a:accent2>
        <a:accent3>
          <a:srgbClr val="FFFFFF"/>
        </a:accent3>
        <a:accent4>
          <a:srgbClr val="000000"/>
        </a:accent4>
        <a:accent5>
          <a:srgbClr val="CAAAAD"/>
        </a:accent5>
        <a:accent6>
          <a:srgbClr val="E7002D"/>
        </a:accent6>
        <a:hlink>
          <a:srgbClr val="006699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D58DE15C522A4792DD639F2D2245EA" ma:contentTypeVersion="1" ma:contentTypeDescription="Create a new document." ma:contentTypeScope="" ma:versionID="8260c78545db7e88bf99b741d053445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afd6403dc1942bbe1defb8d9352624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0FCD3E-24AB-412A-8F26-34D573E13118}">
  <ds:schemaRefs>
    <ds:schemaRef ds:uri="http://purl.org/dc/elements/1.1/"/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schemas.microsoft.com/sharepoint/v3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4DFF339-F5BB-45AD-BC53-F324779DA89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726208E-7FFF-4F68-B56A-A9383EE2E9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43</Words>
  <Application>Microsoft Office PowerPoint</Application>
  <PresentationFormat>Widescreen</PresentationFormat>
  <Paragraphs>339</Paragraphs>
  <Slides>1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Cavolini</vt:lpstr>
      <vt:lpstr>Jokerman</vt:lpstr>
      <vt:lpstr>Symbol</vt:lpstr>
      <vt:lpstr>Wingdings</vt:lpstr>
      <vt:lpstr>CEVA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2e Emission Intelligence</vt:lpstr>
      <vt:lpstr>PowerPoint Presentation</vt:lpstr>
      <vt:lpstr>PowerPoint Presentation</vt:lpstr>
      <vt:lpstr>PowerPoint Presentation</vt:lpstr>
      <vt:lpstr>Enterprise Green Architecture</vt:lpstr>
      <vt:lpstr>PowerPoint Presentation</vt:lpstr>
      <vt:lpstr>TAXONOMY OF MACHINE LEARNING METHODOLOGIES IN LOGISTICS</vt:lpstr>
      <vt:lpstr>TAXONOMY OF MACHINE LEARNING ALGORITHMS IN LOGISTICS</vt:lpstr>
      <vt:lpstr>Matrix Big Data Machine Learning Data Architecture </vt:lpstr>
      <vt:lpstr>MACHINE LEARNING/AI PORTAL ARCHITECTURE</vt:lpstr>
      <vt:lpstr>ML Data Architecture</vt:lpstr>
      <vt:lpstr>Digital Platform Modul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VA Logistics</dc:title>
  <dc:creator/>
  <cp:lastModifiedBy/>
  <cp:revision>1</cp:revision>
  <dcterms:created xsi:type="dcterms:W3CDTF">2019-07-16T15:33:55Z</dcterms:created>
  <dcterms:modified xsi:type="dcterms:W3CDTF">2022-07-19T17:1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BD58DE15C522A4792DD639F2D2245EA</vt:lpwstr>
  </property>
</Properties>
</file>